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34"/>
    <p:sldMasterId id="2147484210" r:id="rId35"/>
  </p:sldMasterIdLst>
  <p:notesMasterIdLst>
    <p:notesMasterId r:id="rId61"/>
  </p:notesMasterIdLst>
  <p:handoutMasterIdLst>
    <p:handoutMasterId r:id="rId62"/>
  </p:handoutMasterIdLst>
  <p:sldIdLst>
    <p:sldId id="390" r:id="rId36"/>
    <p:sldId id="291" r:id="rId37"/>
    <p:sldId id="347" r:id="rId38"/>
    <p:sldId id="369" r:id="rId39"/>
    <p:sldId id="373" r:id="rId40"/>
    <p:sldId id="349" r:id="rId41"/>
    <p:sldId id="383" r:id="rId42"/>
    <p:sldId id="384" r:id="rId43"/>
    <p:sldId id="385" r:id="rId44"/>
    <p:sldId id="388" r:id="rId45"/>
    <p:sldId id="375" r:id="rId46"/>
    <p:sldId id="374" r:id="rId47"/>
    <p:sldId id="377" r:id="rId48"/>
    <p:sldId id="389" r:id="rId49"/>
    <p:sldId id="378" r:id="rId50"/>
    <p:sldId id="379" r:id="rId51"/>
    <p:sldId id="380" r:id="rId52"/>
    <p:sldId id="381" r:id="rId53"/>
    <p:sldId id="386" r:id="rId54"/>
    <p:sldId id="387" r:id="rId55"/>
    <p:sldId id="392" r:id="rId56"/>
    <p:sldId id="395" r:id="rId57"/>
    <p:sldId id="394" r:id="rId58"/>
    <p:sldId id="391" r:id="rId59"/>
    <p:sldId id="257" r:id="rId6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0F411C"/>
    <a:srgbClr val="FFFFCC"/>
    <a:srgbClr val="FFCC66"/>
    <a:srgbClr val="FFB011"/>
    <a:srgbClr val="B87B00"/>
    <a:srgbClr val="002050"/>
    <a:srgbClr val="0072C6"/>
    <a:srgbClr val="F2F2F2"/>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3" autoAdjust="0"/>
    <p:restoredTop sz="95167" autoAdjust="0"/>
  </p:normalViewPr>
  <p:slideViewPr>
    <p:cSldViewPr>
      <p:cViewPr varScale="1">
        <p:scale>
          <a:sx n="85" d="100"/>
          <a:sy n="85" d="100"/>
        </p:scale>
        <p:origin x="69" y="633"/>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slideMaster" Target="slideMasters/slideMaster1.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commentAuthors" Target="commen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notesMaster" Target="notesMasters/notesMaster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2.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16.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tableStyles" Target="tableStyles.xml"/><Relationship Id="rId20" Type="http://schemas.openxmlformats.org/officeDocument/2006/relationships/customXml" Target="../customXml/item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3/2016 4:4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3/2016 4:48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6A8731A-EBC6-4AEB-8A04-30922D0B894B}" type="datetime1">
              <a:rPr lang="en-US" smtClean="0">
                <a:solidFill>
                  <a:prstClr val="black"/>
                </a:solidFill>
              </a:rPr>
              <a:t>2/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05091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pPr/>
              <a:t>15</a:t>
            </a:fld>
            <a:endParaRPr lang="en-US" dirty="0"/>
          </a:p>
        </p:txBody>
      </p:sp>
    </p:spTree>
    <p:extLst>
      <p:ext uri="{BB962C8B-B14F-4D97-AF65-F5344CB8AC3E}">
        <p14:creationId xmlns:p14="http://schemas.microsoft.com/office/powerpoint/2010/main" val="2249551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t>16</a:t>
            </a:fld>
            <a:endParaRPr lang="en-US" dirty="0"/>
          </a:p>
        </p:txBody>
      </p:sp>
    </p:spTree>
    <p:extLst>
      <p:ext uri="{BB962C8B-B14F-4D97-AF65-F5344CB8AC3E}">
        <p14:creationId xmlns:p14="http://schemas.microsoft.com/office/powerpoint/2010/main" val="4205846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Font typeface="Arial" panose="020B0604020202020204" pitchFamily="34" charset="0"/>
              <a:buNone/>
            </a:pPr>
            <a:endParaRPr lang="en-US" dirty="0" smtClean="0"/>
          </a:p>
        </p:txBody>
      </p:sp>
      <p:sp>
        <p:nvSpPr>
          <p:cNvPr id="4" name="Slide Number Placeholder 3"/>
          <p:cNvSpPr>
            <a:spLocks noGrp="1"/>
          </p:cNvSpPr>
          <p:nvPr>
            <p:ph type="sldNum" sz="quarter" idx="10"/>
          </p:nvPr>
        </p:nvSpPr>
        <p:spPr/>
        <p:txBody>
          <a:bodyPr/>
          <a:lstStyle/>
          <a:p>
            <a:fld id="{DDD65AC4-17B0-4E19-8496-B264E70A18D3}" type="slidenum">
              <a:rPr lang="en-US" smtClean="0"/>
              <a:t>17</a:t>
            </a:fld>
            <a:endParaRPr lang="en-US" dirty="0"/>
          </a:p>
        </p:txBody>
      </p:sp>
    </p:spTree>
    <p:extLst>
      <p:ext uri="{BB962C8B-B14F-4D97-AF65-F5344CB8AC3E}">
        <p14:creationId xmlns:p14="http://schemas.microsoft.com/office/powerpoint/2010/main" val="12810659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913181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4842FF8F-76F1-4B52-B2D8-D640EA721D5C}"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949023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3/2016 4: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488644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BCC380E-B6E6-4400-A57F-835CA92E9EA4}" type="slidenum">
              <a:rPr lang="en-US" smtClean="0"/>
              <a:t>21</a:t>
            </a:fld>
            <a:endParaRPr lang="en-US"/>
          </a:p>
        </p:txBody>
      </p:sp>
    </p:spTree>
    <p:extLst>
      <p:ext uri="{BB962C8B-B14F-4D97-AF65-F5344CB8AC3E}">
        <p14:creationId xmlns:p14="http://schemas.microsoft.com/office/powerpoint/2010/main" val="2687104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r>
            <a:br>
              <a:rPr lang="en-US" dirty="0"/>
            </a:br>
            <a:endParaRPr lang="en-US" dirty="0"/>
          </a:p>
        </p:txBody>
      </p:sp>
      <p:sp>
        <p:nvSpPr>
          <p:cNvPr id="4" name="Slide Number Placeholder 3"/>
          <p:cNvSpPr>
            <a:spLocks noGrp="1"/>
          </p:cNvSpPr>
          <p:nvPr>
            <p:ph type="sldNum" sz="quarter" idx="10"/>
          </p:nvPr>
        </p:nvSpPr>
        <p:spPr/>
        <p:txBody>
          <a:bodyPr/>
          <a:lstStyle/>
          <a:p>
            <a:fld id="{38A147FA-3FD6-4031-95DE-04146A18DB50}" type="slidenum">
              <a:rPr lang="en-CA" smtClean="0">
                <a:solidFill>
                  <a:prstClr val="black"/>
                </a:solidFill>
              </a:rPr>
              <a:pPr/>
              <a:t>22</a:t>
            </a:fld>
            <a:endParaRPr lang="en-CA">
              <a:solidFill>
                <a:prstClr val="black"/>
              </a:solidFill>
            </a:endParaRPr>
          </a:p>
        </p:txBody>
      </p:sp>
    </p:spTree>
    <p:extLst>
      <p:ext uri="{BB962C8B-B14F-4D97-AF65-F5344CB8AC3E}">
        <p14:creationId xmlns:p14="http://schemas.microsoft.com/office/powerpoint/2010/main" val="3049349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BCC380E-B6E6-4400-A57F-835CA92E9EA4}" type="slidenum">
              <a:rPr lang="en-US" smtClean="0"/>
              <a:t>23</a:t>
            </a:fld>
            <a:endParaRPr lang="en-US"/>
          </a:p>
        </p:txBody>
      </p:sp>
    </p:spTree>
    <p:extLst>
      <p:ext uri="{BB962C8B-B14F-4D97-AF65-F5344CB8AC3E}">
        <p14:creationId xmlns:p14="http://schemas.microsoft.com/office/powerpoint/2010/main" val="18292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effectLst/>
            </a:endParaRPr>
          </a:p>
          <a:p>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8618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effectLst/>
            </a:endParaRPr>
          </a:p>
          <a:p>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6542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t>2/23/2016 4: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199543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i="0" kern="1200" dirty="0" smtClean="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2/2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98450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900" kern="1200" dirty="0" smtClean="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pPr/>
              <a:t>9</a:t>
            </a:fld>
            <a:endParaRPr lang="en-US" dirty="0"/>
          </a:p>
        </p:txBody>
      </p:sp>
    </p:spTree>
    <p:extLst>
      <p:ext uri="{BB962C8B-B14F-4D97-AF65-F5344CB8AC3E}">
        <p14:creationId xmlns:p14="http://schemas.microsoft.com/office/powerpoint/2010/main" val="3092166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2915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effectLst/>
            </a:endParaRPr>
          </a:p>
          <a:p>
            <a:endParaRPr lang="en-US" dirty="0" smtClean="0">
              <a:effectLs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1419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pPr>
                <a:defRPr/>
              </a:pPr>
              <a:t>13</a:t>
            </a:fld>
            <a:endParaRPr lang="en-US" dirty="0"/>
          </a:p>
        </p:txBody>
      </p:sp>
    </p:spTree>
    <p:extLst>
      <p:ext uri="{BB962C8B-B14F-4D97-AF65-F5344CB8AC3E}">
        <p14:creationId xmlns:p14="http://schemas.microsoft.com/office/powerpoint/2010/main" val="12219688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31.xml"/><Relationship Id="rId7" Type="http://schemas.openxmlformats.org/officeDocument/2006/relationships/image" Target="../media/image1.png"/><Relationship Id="rId2" Type="http://schemas.openxmlformats.org/officeDocument/2006/relationships/customXml" Target="../../customXml/item12.xml"/><Relationship Id="rId1" Type="http://schemas.openxmlformats.org/officeDocument/2006/relationships/customXml" Target="../../customXml/item16.xml"/><Relationship Id="rId6" Type="http://schemas.openxmlformats.org/officeDocument/2006/relationships/slideMaster" Target="../slideMasters/slideMaster1.xml"/><Relationship Id="rId5" Type="http://schemas.openxmlformats.org/officeDocument/2006/relationships/customXml" Target="../../customXml/item6.xml"/><Relationship Id="rId4" Type="http://schemas.openxmlformats.org/officeDocument/2006/relationships/customXml" Target="../../customXml/item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png"/><Relationship Id="rId2" Type="http://schemas.openxmlformats.org/officeDocument/2006/relationships/customXml" Target="../../customXml/item11.xml"/><Relationship Id="rId1" Type="http://schemas.openxmlformats.org/officeDocument/2006/relationships/customXml" Target="../../customXml/item18.xml"/><Relationship Id="rId6" Type="http://schemas.openxmlformats.org/officeDocument/2006/relationships/slideMaster" Target="../slideMasters/slideMaster1.xml"/><Relationship Id="rId5" Type="http://schemas.openxmlformats.org/officeDocument/2006/relationships/customXml" Target="../../customXml/item4.xml"/><Relationship Id="rId4" Type="http://schemas.openxmlformats.org/officeDocument/2006/relationships/customXml" Target="../../customXml/item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33.xml"/><Relationship Id="rId7" Type="http://schemas.openxmlformats.org/officeDocument/2006/relationships/image" Target="../media/image1.png"/><Relationship Id="rId2" Type="http://schemas.openxmlformats.org/officeDocument/2006/relationships/customXml" Target="../../customXml/item25.xml"/><Relationship Id="rId1" Type="http://schemas.openxmlformats.org/officeDocument/2006/relationships/customXml" Target="../../customXml/item19.xml"/><Relationship Id="rId6" Type="http://schemas.openxmlformats.org/officeDocument/2006/relationships/slideMaster" Target="../slideMasters/slideMaster1.xml"/><Relationship Id="rId5" Type="http://schemas.openxmlformats.org/officeDocument/2006/relationships/customXml" Target="../../customXml/item30.xml"/><Relationship Id="rId4" Type="http://schemas.openxmlformats.org/officeDocument/2006/relationships/customXml" Target="../../customXml/item7.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png"/><Relationship Id="rId2" Type="http://schemas.openxmlformats.org/officeDocument/2006/relationships/customXml" Target="../../customXml/item20.xml"/><Relationship Id="rId1" Type="http://schemas.openxmlformats.org/officeDocument/2006/relationships/customXml" Target="../../customXml/item27.xml"/><Relationship Id="rId6" Type="http://schemas.openxmlformats.org/officeDocument/2006/relationships/slideMaster" Target="../slideMasters/slideMaster1.xml"/><Relationship Id="rId5" Type="http://schemas.openxmlformats.org/officeDocument/2006/relationships/customXml" Target="../../customXml/item10.xml"/><Relationship Id="rId4" Type="http://schemas.openxmlformats.org/officeDocument/2006/relationships/customXml" Target="../../customXml/item1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2.png"/><Relationship Id="rId2" Type="http://schemas.openxmlformats.org/officeDocument/2006/relationships/customXml" Target="../../customXml/item23.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customXml" Target="../../customXml/item1.xml"/><Relationship Id="rId4" Type="http://schemas.openxmlformats.org/officeDocument/2006/relationships/customXml" Target="../../customXml/item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21.xml"/><Relationship Id="rId7" Type="http://schemas.openxmlformats.org/officeDocument/2006/relationships/image" Target="../media/image2.png"/><Relationship Id="rId2" Type="http://schemas.openxmlformats.org/officeDocument/2006/relationships/customXml" Target="../../customXml/item22.xml"/><Relationship Id="rId1" Type="http://schemas.openxmlformats.org/officeDocument/2006/relationships/customXml" Target="../../customXml/item32.xml"/><Relationship Id="rId6" Type="http://schemas.openxmlformats.org/officeDocument/2006/relationships/slideMaster" Target="../slideMasters/slideMaster1.xml"/><Relationship Id="rId5" Type="http://schemas.openxmlformats.org/officeDocument/2006/relationships/customXml" Target="../../customXml/item24.xml"/><Relationship Id="rId4" Type="http://schemas.openxmlformats.org/officeDocument/2006/relationships/customXml" Target="../../customXml/item26.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892466768"/>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92517303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828800"/>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9" y="2857192"/>
            <a:ext cx="7670052" cy="3474397"/>
          </a:xfrm>
        </p:spPr>
        <p:txBody>
          <a:bodyPr/>
          <a:lstStyle>
            <a:lvl1pPr marL="0" indent="0">
              <a:lnSpc>
                <a:spcPts val="2600"/>
              </a:lnSpc>
              <a:spcBef>
                <a:spcPts val="3001"/>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87654181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9" y="2125665"/>
            <a:ext cx="9144000" cy="4082870"/>
          </a:xfrm>
        </p:spPr>
        <p:txBody>
          <a:bodyPr/>
          <a:lstStyle>
            <a:lvl1pPr marL="233298" indent="-233298">
              <a:spcBef>
                <a:spcPts val="1199"/>
              </a:spcBef>
              <a:defRPr sz="2600">
                <a:latin typeface="+mn-lt"/>
              </a:defRPr>
            </a:lvl1pPr>
            <a:lvl2pPr marL="690369" indent="-233298">
              <a:spcBef>
                <a:spcPts val="1199"/>
              </a:spcBef>
              <a:buSzPct val="100000"/>
              <a:buFont typeface="Segoe UI" pitchFamily="34" charset="0"/>
              <a:buChar char="‐"/>
              <a:defRPr/>
            </a:lvl2pPr>
            <a:lvl3pPr marL="1147442" indent="-233298">
              <a:spcBef>
                <a:spcPts val="1199"/>
              </a:spcBef>
              <a:buFont typeface="Wingdings" pitchFamily="2" charset="2"/>
              <a:buChar char="§"/>
              <a:defRPr/>
            </a:lvl3pPr>
            <a:lvl4pPr marL="1599752" indent="-342804">
              <a:spcBef>
                <a:spcPts val="1199"/>
              </a:spcBef>
              <a:buFont typeface="+mj-lt"/>
              <a:buAutoNum type="arabicPeriod"/>
              <a:defRPr/>
            </a:lvl4pPr>
            <a:lvl5pPr marL="1945730" indent="-34280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3372634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5964865" cy="6994525"/>
          </a:xfrm>
          <a:prstGeom prst="rect">
            <a:avLst/>
          </a:prstGeom>
        </p:spPr>
      </p:pic>
      <p:sp>
        <p:nvSpPr>
          <p:cNvPr id="9" name="Rectangle 8"/>
          <p:cNvSpPr/>
          <p:nvPr userDrawn="1"/>
        </p:nvSpPr>
        <p:spPr bwMode="auto">
          <a:xfrm>
            <a:off x="4891619" y="1"/>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2" rIns="182829" bIns="146262" numCol="1" spcCol="0" rtlCol="0" fromWordArt="0" anchor="t" anchorCtr="0" forceAA="0" compatLnSpc="1">
            <a:prstTxWarp prst="textNoShape">
              <a:avLst/>
            </a:prstTxWarp>
            <a:noAutofit/>
          </a:bodyPr>
          <a:lstStyle/>
          <a:p>
            <a:pPr marL="0" marR="0" lvl="0" indent="0" algn="ctr" defTabSz="93221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1"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3810357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1097302"/>
          </a:xfrm>
        </p:spPr>
        <p:txBody>
          <a:bodyPr lIns="146304" tIns="91440" rIns="146304" bIns="91440"/>
          <a:lstStyle>
            <a:lvl1pPr>
              <a:lnSpc>
                <a:spcPts val="6298"/>
              </a:lnSpc>
              <a:defRPr sz="5798"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5781288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80"/>
            <a:ext cx="6400800" cy="507831"/>
          </a:xfrm>
        </p:spPr>
        <p:txBody>
          <a:bodyPr lIns="182880" rIns="182880"/>
          <a:lstStyle>
            <a:lvl1pPr marL="0" indent="0">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20"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62255780"/>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4"/>
          <p:cNvSpPr>
            <a:spLocks noGrp="1"/>
          </p:cNvSpPr>
          <p:nvPr>
            <p:ph type="body" sz="quarter" idx="11"/>
          </p:nvPr>
        </p:nvSpPr>
        <p:spPr>
          <a:xfrm>
            <a:off x="274642" y="355514"/>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40" y="2125663"/>
            <a:ext cx="3200430" cy="2743200"/>
          </a:xfrm>
        </p:spPr>
        <p:txBody>
          <a:bodyPr/>
          <a:lstStyle>
            <a:lvl1pPr marL="0" indent="0">
              <a:lnSpc>
                <a:spcPct val="100000"/>
              </a:lnSpc>
              <a:spcBef>
                <a:spcPts val="0"/>
              </a:spcBef>
              <a:spcAft>
                <a:spcPts val="3001"/>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089140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41" y="752477"/>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5052410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4"/>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8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7357296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04" indent="0">
              <a:buNone/>
              <a:defRPr/>
            </a:lvl2pPr>
            <a:lvl3pPr marL="571340" indent="0">
              <a:buNone/>
              <a:defRPr/>
            </a:lvl3pPr>
            <a:lvl4pPr marL="799876" indent="0">
              <a:buNone/>
              <a:defRPr/>
            </a:lvl4pPr>
            <a:lvl5pPr marL="1028412" indent="0">
              <a:buNone/>
              <a:defRPr/>
            </a:lvl5pPr>
          </a:lstStyle>
          <a:p>
            <a:pPr marL="0" marR="0" lvl="0"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481"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197410837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20"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67510720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6"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Text Placeholder 4"/>
          <p:cNvSpPr>
            <a:spLocks noGrp="1"/>
          </p:cNvSpPr>
          <p:nvPr>
            <p:ph type="body" sz="quarter" idx="10"/>
          </p:nvPr>
        </p:nvSpPr>
        <p:spPr>
          <a:xfrm>
            <a:off x="274821" y="375660"/>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005365946"/>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20" y="375660"/>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772" indent="0">
              <a:buFontTx/>
              <a:buNone/>
              <a:defRPr sz="2400">
                <a:latin typeface="Segoe Pro Light"/>
              </a:defRPr>
            </a:lvl2pPr>
            <a:lvl3pPr marL="571285" indent="0">
              <a:buFontTx/>
              <a:buNone/>
              <a:defRPr sz="2400">
                <a:latin typeface="Segoe Pro Light"/>
              </a:defRPr>
            </a:lvl3pPr>
            <a:lvl4pPr marL="799797" indent="0">
              <a:buFontTx/>
              <a:buNone/>
              <a:defRPr sz="2400">
                <a:latin typeface="Segoe Pro Light"/>
              </a:defRPr>
            </a:lvl4pPr>
            <a:lvl5pPr marL="1028310"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8"/>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3" y="3954458"/>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772" indent="0">
              <a:buFontTx/>
              <a:buNone/>
              <a:defRPr/>
            </a:lvl2pPr>
            <a:lvl3pPr marL="571285" indent="0">
              <a:buFontTx/>
              <a:buNone/>
              <a:defRPr/>
            </a:lvl3pPr>
            <a:lvl4pPr marL="799797" indent="0">
              <a:buFontTx/>
              <a:buNone/>
              <a:defRPr/>
            </a:lvl4pPr>
            <a:lvl5pPr marL="1028310"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029388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66943207"/>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10" y="296866"/>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40" y="2122379"/>
            <a:ext cx="11887200" cy="1828800"/>
          </a:xfrm>
        </p:spPr>
        <p:txBody>
          <a:bodyPr lIns="146304" tIns="91440" rIns="146304" bIns="91440"/>
          <a:lstStyle>
            <a:lvl1pPr marL="0" indent="0">
              <a:lnSpc>
                <a:spcPct val="90000"/>
              </a:lnSpc>
              <a:buFontTx/>
              <a:buNone/>
              <a:defRPr sz="8798" b="0">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97310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40" y="296863"/>
            <a:ext cx="11887200" cy="1828800"/>
          </a:xfrm>
        </p:spPr>
        <p:txBody>
          <a:bodyPr lIns="146304" tIns="91440" rIns="146304" bIns="91440"/>
          <a:lstStyle>
            <a:lvl1pPr marL="0" indent="0">
              <a:lnSpc>
                <a:spcPct val="90000"/>
              </a:lnSpc>
              <a:buFontTx/>
              <a:buNone/>
              <a:defRPr sz="5398">
                <a:solidFill>
                  <a:schemeClr val="bg1"/>
                </a:solidFill>
                <a:latin typeface="+mj-lt"/>
              </a:defRPr>
            </a:lvl1pPr>
            <a:lvl2pPr marL="342772" indent="0">
              <a:buFontTx/>
              <a:buNone/>
              <a:defRPr sz="3599">
                <a:latin typeface="Segoe Pro Light"/>
              </a:defRPr>
            </a:lvl2pPr>
            <a:lvl3pPr marL="571285" indent="0">
              <a:buFontTx/>
              <a:buNone/>
              <a:defRPr sz="3599">
                <a:latin typeface="Segoe Pro Light"/>
              </a:defRPr>
            </a:lvl3pPr>
            <a:lvl4pPr marL="799797" indent="0">
              <a:buFontTx/>
              <a:buNone/>
              <a:defRPr sz="3599">
                <a:latin typeface="Segoe Pro Light"/>
              </a:defRPr>
            </a:lvl4pPr>
            <a:lvl5pPr marL="1028310"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62268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2385814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3" y="492478"/>
            <a:ext cx="1250444" cy="266701"/>
          </a:xfrm>
          <a:prstGeom prst="rect">
            <a:avLst/>
          </a:prstGeom>
        </p:spPr>
      </p:pic>
    </p:spTree>
    <p:extLst>
      <p:ext uri="{BB962C8B-B14F-4D97-AF65-F5344CB8AC3E}">
        <p14:creationId xmlns:p14="http://schemas.microsoft.com/office/powerpoint/2010/main" val="31713452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1" y="3145043"/>
            <a:ext cx="3288506" cy="704445"/>
          </a:xfrm>
          <a:prstGeom prst="rect">
            <a:avLst/>
          </a:prstGeom>
        </p:spPr>
      </p:pic>
    </p:spTree>
    <p:extLst>
      <p:ext uri="{BB962C8B-B14F-4D97-AF65-F5344CB8AC3E}">
        <p14:creationId xmlns:p14="http://schemas.microsoft.com/office/powerpoint/2010/main" val="140252182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6"/>
            <a:ext cx="11375536" cy="678031"/>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2" y="1476622"/>
            <a:ext cx="11375536" cy="2040374"/>
          </a:xfrm>
          <a:prstGeom prst="rect">
            <a:avLst/>
          </a:prstGeom>
        </p:spPr>
        <p:txBody>
          <a:bodyPr anchor="t">
            <a:normAutofit/>
          </a:bodyPr>
          <a:lstStyle>
            <a:lvl1pPr algn="l">
              <a:defRPr sz="2040"/>
            </a:lvl1pPr>
            <a:lvl2pPr>
              <a:defRPr sz="1632"/>
            </a:lvl2pPr>
            <a:lvl3pPr>
              <a:defRPr sz="1632"/>
            </a:lvl3pPr>
            <a:lvl4pPr>
              <a:defRPr sz="1632"/>
            </a:lvl4pPr>
            <a:lvl5pPr>
              <a:defRPr sz="1632"/>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5035180"/>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025836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289583" y="6696086"/>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32559" rtl="0" eaLnBrk="1" fontAlgn="auto" latinLnBrk="0" hangingPunct="1">
              <a:lnSpc>
                <a:spcPct val="100000"/>
              </a:lnSpc>
              <a:spcBef>
                <a:spcPts val="0"/>
              </a:spcBef>
              <a:spcAft>
                <a:spcPts val="0"/>
              </a:spcAft>
              <a:buClrTx/>
              <a:buSzTx/>
              <a:buFontTx/>
              <a:buNone/>
              <a:tabLst/>
              <a:defRPr/>
            </a:pPr>
            <a:r>
              <a:rPr kumimoji="0" lang="en-US" sz="1049" b="0" i="0" u="none" strike="noStrike" kern="1200" cap="none" spc="150"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220683997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dirty="0" smtClean="0"/>
              <a:t>Click to edit Master title style</a:t>
            </a:r>
            <a:endParaRPr lang="en-US" dirty="0"/>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55008" y="6482889"/>
            <a:ext cx="2798207" cy="372394"/>
          </a:xfrm>
          <a:prstGeom prst="rect">
            <a:avLst/>
          </a:prstGeom>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8333EBC8-7437-4638-9842-12F74D8DC4D8}" type="datetimeFigureOut">
              <a:rPr kumimoji="0" lang="en-US" sz="1836" b="0" i="0" u="none" strike="noStrike" kern="1200" cap="none" spc="0" normalizeH="0" baseline="0" noProof="0" smtClean="0">
                <a:ln>
                  <a:noFill/>
                </a:ln>
                <a:solidFill>
                  <a:srgbClr val="494949"/>
                </a:solidFill>
                <a:effectLst/>
                <a:uLnTx/>
                <a:uFillTx/>
                <a:latin typeface="Segoe UI"/>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2/23/2016</a:t>
            </a:fld>
            <a:endParaRPr kumimoji="0" lang="en-US" sz="1836" b="0" i="0" u="none" strike="noStrike" kern="1200" cap="none" spc="0" normalizeH="0" baseline="0" noProof="0" dirty="0">
              <a:ln>
                <a:noFill/>
              </a:ln>
              <a:solidFill>
                <a:srgbClr val="494949"/>
              </a:solidFill>
              <a:effectLst/>
              <a:uLnTx/>
              <a:uFillTx/>
              <a:latin typeface="Segoe UI"/>
              <a:ea typeface="+mn-ea"/>
              <a:cs typeface="+mn-cs"/>
            </a:endParaRPr>
          </a:p>
        </p:txBody>
      </p:sp>
      <p:sp>
        <p:nvSpPr>
          <p:cNvPr id="8" name="Footer Placeholder 7"/>
          <p:cNvSpPr>
            <a:spLocks noGrp="1"/>
          </p:cNvSpPr>
          <p:nvPr>
            <p:ph type="ftr"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BA141A"/>
              </a:solidFill>
              <a:effectLst/>
              <a:uLnTx/>
              <a:uFillTx/>
              <a:latin typeface="Segoe U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9680352F-C9A5-4457-AE8D-BE1FDA2D08C4}" type="slidenum">
              <a:rPr kumimoji="0" lang="en-US" sz="900" b="0" i="0" u="none" strike="noStrike" kern="1200" cap="none" spc="0" normalizeH="0" baseline="0" noProof="0" smtClean="0">
                <a:ln>
                  <a:noFill/>
                </a:ln>
                <a:solidFill>
                  <a:srgbClr val="BA141A"/>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BA141A"/>
              </a:solidFill>
              <a:effectLst/>
              <a:uLnTx/>
              <a:uFillTx/>
              <a:latin typeface="Segoe UI"/>
              <a:ea typeface="+mn-ea"/>
              <a:cs typeface="+mn-cs"/>
            </a:endParaRPr>
          </a:p>
        </p:txBody>
      </p:sp>
    </p:spTree>
    <p:extLst>
      <p:ext uri="{BB962C8B-B14F-4D97-AF65-F5344CB8AC3E}">
        <p14:creationId xmlns:p14="http://schemas.microsoft.com/office/powerpoint/2010/main" val="323274604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fld id="{048F8846-242C-4AEC-AEBB-DDF94B96C8CB}" type="datetimeFigureOut">
              <a:rPr kumimoji="0" lang="en-US" sz="1836"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32597" rtl="0" eaLnBrk="1" fontAlgn="auto" latinLnBrk="0" hangingPunct="1">
                <a:lnSpc>
                  <a:spcPct val="100000"/>
                </a:lnSpc>
                <a:spcBef>
                  <a:spcPts val="0"/>
                </a:spcBef>
                <a:spcAft>
                  <a:spcPts val="0"/>
                </a:spcAft>
                <a:buClrTx/>
                <a:buSzTx/>
                <a:buFontTx/>
                <a:buNone/>
                <a:tabLst/>
                <a:defRPr/>
              </a:pPr>
              <a:t>2/23/2016</a:t>
            </a:fld>
            <a:endParaRPr kumimoji="0" lang="en-US" sz="1836"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6" name="Footer Placeholder 5"/>
          <p:cNvSpPr>
            <a:spLocks noGrp="1"/>
          </p:cNvSpPr>
          <p:nvPr>
            <p:ph type="ftr" sz="quarter" idx="11"/>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63A31B10-F433-43AA-BD86-90272CF4D72F}" type="slidenum">
              <a:rPr kumimoji="0" lang="en-US" sz="9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13794699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1722562266"/>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518" cy="914365"/>
          </a:xfrm>
        </p:spPr>
        <p:txBody>
          <a:bodyPr/>
          <a:lstStyle>
            <a:lvl1pPr>
              <a:defRPr sz="5800">
                <a:solidFill>
                  <a:srgbClr val="0072C6"/>
                </a:soli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53363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518" cy="1828766"/>
          </a:xfrm>
        </p:spPr>
        <p:txBody>
          <a:bodyPr lIns="91440" rIns="91440"/>
          <a:lstStyle>
            <a:lvl1pPr>
              <a:defRPr sz="4800">
                <a:solidFill>
                  <a:srgbClr val="0072C6"/>
                </a:solidFill>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18675195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1562378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smtClean="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smtClean="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6217920" y="0"/>
            <a:ext cx="6217920" cy="6995160"/>
          </a:xfrm>
        </p:spPr>
        <p:txBody>
          <a:bodyPr/>
          <a:lstStyle/>
          <a:p>
            <a:endParaRPr lang="en-US"/>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182648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smtClean="0"/>
              <a:t>Click to edit Master title style</a:t>
            </a:r>
            <a:endParaRPr lang="en-US" dirty="0"/>
          </a:p>
        </p:txBody>
      </p:sp>
      <p:sp>
        <p:nvSpPr>
          <p:cNvPr id="4" name="Picture Placeholder 3"/>
          <p:cNvSpPr>
            <a:spLocks noGrp="1"/>
          </p:cNvSpPr>
          <p:nvPr>
            <p:ph type="pic" sz="quarter" idx="10"/>
          </p:nvPr>
        </p:nvSpPr>
        <p:spPr>
          <a:xfrm>
            <a:off x="0" y="0"/>
            <a:ext cx="6217920" cy="6995160"/>
          </a:xfrm>
        </p:spPr>
        <p:txBody>
          <a:bodyPr/>
          <a:lstStyle/>
          <a:p>
            <a:endParaRPr lang="en-US"/>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9991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smtClean="0"/>
              <a:t>Click to edit Master title style</a:t>
            </a:r>
            <a:endParaRPr lang="en-US" dirty="0"/>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smtClean="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65760" y="6292888"/>
            <a:ext cx="11704320" cy="338554"/>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a:t>
            </a:r>
            <a:r>
              <a:rPr lang="en-US" sz="1000" baseline="0" dirty="0" smtClean="0">
                <a:solidFill>
                  <a:schemeClr val="bg1"/>
                </a:solidFill>
                <a:cs typeface="Segoe UI" pitchFamily="34" charset="0"/>
              </a:rPr>
              <a:t>2016 </a:t>
            </a:r>
            <a:r>
              <a:rPr lang="en-US" sz="1000" baseline="0" dirty="0">
                <a:solidFill>
                  <a:schemeClr val="bg1"/>
                </a:solidFill>
                <a:cs typeface="Segoe UI" pitchFamily="34" charset="0"/>
              </a:rPr>
              <a:t>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People-centric IT Titl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85" t="8886" b="15352"/>
          <a:stretch/>
        </p:blipFill>
        <p:spPr>
          <a:xfrm>
            <a:off x="-48127" y="-16044"/>
            <a:ext cx="12490704" cy="7029878"/>
          </a:xfrm>
          <a:prstGeom prst="rect">
            <a:avLst/>
          </a:prstGeom>
        </p:spPr>
      </p:pic>
      <p:sp>
        <p:nvSpPr>
          <p:cNvPr id="7" name="Rectangle 6"/>
          <p:cNvSpPr/>
          <p:nvPr userDrawn="1"/>
        </p:nvSpPr>
        <p:spPr bwMode="auto">
          <a:xfrm>
            <a:off x="4307802" y="737352"/>
            <a:ext cx="8128673" cy="5486400"/>
          </a:xfrm>
          <a:prstGeom prst="rect">
            <a:avLst/>
          </a:prstGeom>
          <a:solidFill>
            <a:schemeClr val="accent2">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4395876" y="2583125"/>
            <a:ext cx="7857726" cy="1720381"/>
          </a:xfrm>
          <a:prstGeom prst="rect">
            <a:avLst/>
          </a:prstGeom>
        </p:spPr>
        <p:txBody>
          <a:bodyPr lIns="146304" tIns="91440" rIns="146304" bIns="91440"/>
          <a:lstStyle>
            <a:lvl1pPr algn="l">
              <a:lnSpc>
                <a:spcPct val="90000"/>
              </a:lnSpc>
              <a:defRPr sz="6000" baseline="0">
                <a:solidFill>
                  <a:schemeClr val="bg1"/>
                </a:solidFill>
              </a:defRPr>
            </a:lvl1pPr>
          </a:lstStyle>
          <a:p>
            <a:r>
              <a:rPr lang="en-US" smtClean="0"/>
              <a:t>SQL Server headline</a:t>
            </a:r>
            <a:endParaRPr lang="en-US"/>
          </a:p>
        </p:txBody>
      </p:sp>
      <p:sp>
        <p:nvSpPr>
          <p:cNvPr id="3" name="Subtitle 2"/>
          <p:cNvSpPr>
            <a:spLocks noGrp="1"/>
          </p:cNvSpPr>
          <p:nvPr>
            <p:ph type="subTitle" idx="1" hasCustomPrompt="1"/>
          </p:nvPr>
        </p:nvSpPr>
        <p:spPr>
          <a:xfrm>
            <a:off x="4395970" y="4394952"/>
            <a:ext cx="7857631"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17290" y="904777"/>
            <a:ext cx="1304123" cy="285764"/>
          </a:xfrm>
          <a:prstGeom prst="rect">
            <a:avLst/>
          </a:prstGeom>
        </p:spPr>
      </p:pic>
    </p:spTree>
    <p:extLst>
      <p:ext uri="{BB962C8B-B14F-4D97-AF65-F5344CB8AC3E}">
        <p14:creationId xmlns:p14="http://schemas.microsoft.com/office/powerpoint/2010/main" val="16224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142637"/>
            <a:ext cx="11228387" cy="1720381"/>
          </a:xfrm>
        </p:spPr>
        <p:txBody>
          <a:bodyPr/>
          <a:lstStyle>
            <a:lvl1pPr>
              <a:defRPr sz="5999">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bg1"/>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Tree>
    <p:extLst>
      <p:ext uri="{BB962C8B-B14F-4D97-AF65-F5344CB8AC3E}">
        <p14:creationId xmlns:p14="http://schemas.microsoft.com/office/powerpoint/2010/main" val="166745411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2938" y="284937"/>
            <a:ext cx="11910600" cy="6424653"/>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
        <p:nvSpPr>
          <p:cNvPr id="2" name="Title 1"/>
          <p:cNvSpPr>
            <a:spLocks noGrp="1"/>
          </p:cNvSpPr>
          <p:nvPr userDrawn="1">
            <p:ph type="ctrTitle" hasCustomPrompt="1"/>
          </p:nvPr>
        </p:nvSpPr>
        <p:spPr>
          <a:xfrm>
            <a:off x="274639" y="2142637"/>
            <a:ext cx="11228387" cy="1720381"/>
          </a:xfrm>
        </p:spPr>
        <p:txBody>
          <a:bodyPr/>
          <a:lstStyle>
            <a:lvl1pPr>
              <a:defRPr sz="5999"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244287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flipH="1">
            <a:off x="-7372" y="1"/>
            <a:ext cx="12534900" cy="6994526"/>
          </a:xfrm>
          <a:prstGeom prst="rect">
            <a:avLst/>
          </a:prstGeom>
        </p:spPr>
      </p:pic>
      <p:sp>
        <p:nvSpPr>
          <p:cNvPr id="2" name="Title 1"/>
          <p:cNvSpPr>
            <a:spLocks noGrp="1"/>
          </p:cNvSpPr>
          <p:nvPr>
            <p:ph type="ctrTitle" hasCustomPrompt="1"/>
          </p:nvPr>
        </p:nvSpPr>
        <p:spPr>
          <a:xfrm>
            <a:off x="274639" y="2142637"/>
            <a:ext cx="11228387" cy="1720381"/>
          </a:xfrm>
        </p:spPr>
        <p:txBody>
          <a:bodyPr/>
          <a:lstStyle>
            <a:lvl1pPr>
              <a:defRPr sz="5999"/>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8705850" cy="1055382"/>
          </a:xfrm>
        </p:spPr>
        <p:txBody>
          <a:bodyPr/>
          <a:lstStyle>
            <a:lvl1pPr marL="0" indent="0" algn="l">
              <a:buNone/>
              <a:defRPr sz="2200">
                <a:solidFill>
                  <a:schemeClr val="tx2"/>
                </a:solidFill>
                <a:latin typeface="+mn-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0241" y="479776"/>
            <a:ext cx="1300462" cy="277369"/>
          </a:xfrm>
          <a:prstGeom prst="rect">
            <a:avLst/>
          </a:prstGeom>
        </p:spPr>
      </p:pic>
    </p:spTree>
    <p:extLst>
      <p:ext uri="{BB962C8B-B14F-4D97-AF65-F5344CB8AC3E}">
        <p14:creationId xmlns:p14="http://schemas.microsoft.com/office/powerpoint/2010/main" val="226938129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
            </a:r>
            <a:br>
              <a:rPr lang="en-US" dirty="0" smtClean="0"/>
            </a:br>
            <a:r>
              <a:rPr lang="en-US" dirty="0" err="1" smtClean="0"/>
              <a:t>scing</a:t>
            </a:r>
            <a:r>
              <a:rPr lang="en-US" dirty="0" smtClean="0"/>
              <a:t> </a:t>
            </a:r>
            <a:r>
              <a:rPr lang="en-US" dirty="0" err="1" smtClean="0"/>
              <a:t>elit</a:t>
            </a:r>
            <a:r>
              <a:rPr lang="en-US" dirty="0" smtClean="0"/>
              <a:t> </a:t>
            </a:r>
            <a:r>
              <a:rPr lang="en-US" dirty="0" err="1" smtClean="0"/>
              <a:t>aenean</a:t>
            </a:r>
            <a:r>
              <a:rPr lang="en-US" dirty="0" smtClean="0"/>
              <a:t> </a:t>
            </a:r>
            <a:r>
              <a:rPr lang="en-US" dirty="0" err="1" smtClean="0"/>
              <a:t>massa</a:t>
            </a:r>
            <a:r>
              <a:rPr lang="en-US" dirty="0" smtClean="0"/>
              <a:t>.</a:t>
            </a:r>
            <a:br>
              <a:rPr lang="en-US" dirty="0" smtClean="0"/>
            </a:br>
            <a:r>
              <a:rPr lang="en-US" dirty="0" smtClean="0"/>
              <a:t>Cum </a:t>
            </a:r>
            <a:r>
              <a:rPr lang="en-US" dirty="0" err="1" smtClean="0"/>
              <a:t>sociis</a:t>
            </a:r>
            <a:r>
              <a:rPr lang="en-US" dirty="0" smtClean="0"/>
              <a:t> </a:t>
            </a:r>
            <a:r>
              <a:rPr lang="en-US" dirty="0" err="1" smtClean="0"/>
              <a:t>natoque</a:t>
            </a:r>
            <a:r>
              <a:rPr lang="en-US" dirty="0" smtClean="0"/>
              <a:t>.</a:t>
            </a:r>
            <a:endParaRPr lang="en-US" dirty="0"/>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34286619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_screen">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7715644" y="1377431"/>
            <a:ext cx="4446194" cy="5048308"/>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solidFill>
                  <a:schemeClr val="tx1"/>
                </a:solidFill>
                <a:latin typeface="+mj-lt"/>
              </a:defRPr>
            </a:lvl2pPr>
            <a:lvl3pPr marL="231730" indent="0">
              <a:buNone/>
              <a:tabLst/>
              <a:defRPr sz="2000"/>
            </a:lvl3pPr>
            <a:lvl4pPr marL="460287" indent="0">
              <a:buNone/>
              <a:defRPr/>
            </a:lvl4pPr>
            <a:lvl5pPr marL="685669" indent="0">
              <a:buNone/>
              <a:tabLst/>
              <a:defRPr/>
            </a:lvl5pPr>
          </a:lstStyle>
          <a:p>
            <a:pPr lvl="0"/>
            <a:r>
              <a:rPr lang="en-US" dirty="0" smtClean="0"/>
              <a:t>Click to edit Master text styles</a:t>
            </a:r>
          </a:p>
          <a:p>
            <a:pPr lvl="1"/>
            <a:r>
              <a:rPr lang="en-US" dirty="0" smtClean="0"/>
              <a:t>Second level</a:t>
            </a:r>
          </a:p>
        </p:txBody>
      </p:sp>
      <p:sp>
        <p:nvSpPr>
          <p:cNvPr id="7" name="Picture Placeholder 6"/>
          <p:cNvSpPr>
            <a:spLocks noGrp="1"/>
          </p:cNvSpPr>
          <p:nvPr>
            <p:ph type="pic" sz="quarter" idx="12" hasCustomPrompt="1"/>
          </p:nvPr>
        </p:nvSpPr>
        <p:spPr>
          <a:xfrm>
            <a:off x="275288" y="1377858"/>
            <a:ext cx="7006597" cy="5047882"/>
          </a:xfrm>
          <a:ln w="152400">
            <a:noFill/>
          </a:ln>
        </p:spPr>
        <p:txBody>
          <a:bodyPr/>
          <a:lstStyle>
            <a:lvl1pPr marL="0" indent="0">
              <a:buNone/>
              <a:defRPr/>
            </a:lvl1pPr>
          </a:lstStyle>
          <a:p>
            <a:r>
              <a:rPr lang="en-US" dirty="0" smtClean="0"/>
              <a:t>Screen shot or image here</a:t>
            </a:r>
            <a:endParaRPr lang="en-US" dirty="0"/>
          </a:p>
        </p:txBody>
      </p:sp>
      <p:sp>
        <p:nvSpPr>
          <p:cNvPr id="10" name="Title 2"/>
          <p:cNvSpPr>
            <a:spLocks noGrp="1"/>
          </p:cNvSpPr>
          <p:nvPr>
            <p:ph type="title"/>
          </p:nvPr>
        </p:nvSpPr>
        <p:spPr>
          <a:xfrm>
            <a:off x="274639" y="377082"/>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6031605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Cod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444676" y="1377434"/>
            <a:ext cx="6886900" cy="4923061"/>
          </a:xfrm>
          <a:solidFill>
            <a:schemeClr val="bg1">
              <a:lumMod val="95000"/>
            </a:schemeClr>
          </a:solidFill>
          <a:ln w="76200">
            <a:solidFill>
              <a:srgbClr val="0072C6"/>
            </a:solidFill>
          </a:ln>
        </p:spPr>
        <p:txBody>
          <a:bodyPr wrap="square">
            <a:normAutofit/>
          </a:bodyPr>
          <a:lstStyle>
            <a:lvl1pPr marL="0" indent="0" defTabSz="373039">
              <a:lnSpc>
                <a:spcPct val="100000"/>
              </a:lnSpc>
              <a:spcBef>
                <a:spcPts val="0"/>
              </a:spcBef>
              <a:buClr>
                <a:schemeClr val="tx1"/>
              </a:buClr>
              <a:buFont typeface="Wingdings" pitchFamily="2" charset="2"/>
              <a:buNone/>
              <a:defRPr sz="1836" baseline="0">
                <a:solidFill>
                  <a:schemeClr val="tx1"/>
                </a:solidFill>
                <a:latin typeface="Consolas" panose="020B0609020204030204" pitchFamily="49" charset="0"/>
                <a:cs typeface="Consolas" panose="020B0609020204030204" pitchFamily="49" charset="0"/>
              </a:defRPr>
            </a:lvl1pPr>
            <a:lvl2pPr marL="373039" indent="0" defTabSz="373039">
              <a:lnSpc>
                <a:spcPct val="100000"/>
              </a:lnSpc>
              <a:spcBef>
                <a:spcPts val="0"/>
              </a:spcBef>
              <a:buNone/>
              <a:defRPr sz="1836">
                <a:latin typeface="Consolas" panose="020B0609020204030204" pitchFamily="49" charset="0"/>
                <a:cs typeface="Consolas" panose="020B0609020204030204" pitchFamily="49" charset="0"/>
              </a:defRPr>
            </a:lvl2pPr>
            <a:lvl3pPr marL="746077" indent="0" defTabSz="373039">
              <a:lnSpc>
                <a:spcPct val="100000"/>
              </a:lnSpc>
              <a:spcBef>
                <a:spcPts val="0"/>
              </a:spcBef>
              <a:buNone/>
              <a:tabLst/>
              <a:defRPr sz="1836">
                <a:latin typeface="Consolas" panose="020B0609020204030204" pitchFamily="49" charset="0"/>
                <a:cs typeface="Consolas" panose="020B0609020204030204" pitchFamily="49" charset="0"/>
              </a:defRPr>
            </a:lvl3pPr>
            <a:lvl4pPr marL="1119116" indent="0" defTabSz="373039">
              <a:lnSpc>
                <a:spcPct val="100000"/>
              </a:lnSpc>
              <a:spcBef>
                <a:spcPts val="0"/>
              </a:spcBef>
              <a:buNone/>
              <a:defRPr sz="1836">
                <a:latin typeface="Consolas" panose="020B0609020204030204" pitchFamily="49" charset="0"/>
                <a:cs typeface="Consolas" panose="020B0609020204030204" pitchFamily="49" charset="0"/>
              </a:defRPr>
            </a:lvl4pPr>
            <a:lvl5pPr marL="1492154" indent="0" defTabSz="373039">
              <a:lnSpc>
                <a:spcPct val="100000"/>
              </a:lnSpc>
              <a:spcBef>
                <a:spcPts val="0"/>
              </a:spcBef>
              <a:buNone/>
              <a:tabLst/>
              <a:defRPr sz="1836">
                <a:latin typeface="Consolas" panose="020B0609020204030204" pitchFamily="49" charset="0"/>
                <a:cs typeface="Consolas" panose="020B0609020204030204" pitchFamily="49" charset="0"/>
              </a:defRPr>
            </a:lvl5pPr>
          </a:lstStyle>
          <a:p>
            <a:pPr lvl="0"/>
            <a:r>
              <a:rPr lang="en-US" dirty="0" smtClean="0"/>
              <a:t>Click to edit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1"/>
          </p:nvPr>
        </p:nvSpPr>
        <p:spPr>
          <a:xfrm>
            <a:off x="7715645" y="1377433"/>
            <a:ext cx="4062854" cy="4923062"/>
          </a:xfrm>
        </p:spPr>
        <p:txBody>
          <a:bodyPr wrap="square">
            <a:normAutofit/>
          </a:bodyPr>
          <a:lstStyle>
            <a:lvl1pPr marL="0" indent="0">
              <a:spcBef>
                <a:spcPts val="1224"/>
              </a:spcBef>
              <a:buClr>
                <a:schemeClr val="tx1"/>
              </a:buClr>
              <a:buFont typeface="Wingdings" pitchFamily="2" charset="2"/>
              <a:buNone/>
              <a:defRPr sz="2652">
                <a:solidFill>
                  <a:srgbClr val="0072C6"/>
                </a:solidFill>
              </a:defRPr>
            </a:lvl1pPr>
            <a:lvl2pPr marL="0" indent="0">
              <a:spcBef>
                <a:spcPts val="612"/>
              </a:spcBef>
              <a:buNone/>
              <a:defRPr sz="1836">
                <a:latin typeface="+mj-lt"/>
              </a:defRPr>
            </a:lvl2pPr>
            <a:lvl3pPr marL="231730" indent="0">
              <a:buNone/>
              <a:tabLst/>
              <a:defRPr sz="2000"/>
            </a:lvl3pPr>
            <a:lvl4pPr marL="460287" indent="0">
              <a:buNone/>
              <a:defRPr/>
            </a:lvl4pPr>
            <a:lvl5pPr marL="685669" indent="0">
              <a:buNone/>
              <a:tabLst/>
              <a:defRPr/>
            </a:lvl5pPr>
          </a:lstStyle>
          <a:p>
            <a:pPr lvl="0"/>
            <a:r>
              <a:rPr lang="en-US" dirty="0" smtClean="0"/>
              <a:t>Click to edit Master text styles</a:t>
            </a:r>
          </a:p>
          <a:p>
            <a:pPr lvl="1"/>
            <a:r>
              <a:rPr lang="en-US" dirty="0" smtClean="0"/>
              <a:t>Second level</a:t>
            </a:r>
          </a:p>
        </p:txBody>
      </p:sp>
      <p:sp>
        <p:nvSpPr>
          <p:cNvPr id="8" name="Title 2"/>
          <p:cNvSpPr>
            <a:spLocks noGrp="1"/>
          </p:cNvSpPr>
          <p:nvPr>
            <p:ph type="title"/>
          </p:nvPr>
        </p:nvSpPr>
        <p:spPr>
          <a:xfrm>
            <a:off x="274639" y="377082"/>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6100492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5" name="Isosceles Triangle 4"/>
          <p:cNvSpPr/>
          <p:nvPr userDrawn="1"/>
        </p:nvSpPr>
        <p:spPr bwMode="auto">
          <a:xfrm rot="10800000">
            <a:off x="-11376995" y="-251205"/>
            <a:ext cx="20270504" cy="9561744"/>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userDrawn="1"/>
        </p:nvGrpSpPr>
        <p:grpSpPr>
          <a:xfrm>
            <a:off x="2516675" y="3366945"/>
            <a:ext cx="9530796" cy="3237609"/>
            <a:chOff x="4567099" y="3930781"/>
            <a:chExt cx="7771523" cy="2640360"/>
          </a:xfrm>
        </p:grpSpPr>
        <p:sp>
          <p:nvSpPr>
            <p:cNvPr id="7" name="Freeform 13"/>
            <p:cNvSpPr>
              <a:spLocks/>
            </p:cNvSpPr>
            <p:nvPr/>
          </p:nvSpPr>
          <p:spPr bwMode="auto">
            <a:xfrm>
              <a:off x="6598033" y="5723324"/>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 name="Freeform 23"/>
            <p:cNvSpPr>
              <a:spLocks/>
            </p:cNvSpPr>
            <p:nvPr/>
          </p:nvSpPr>
          <p:spPr bwMode="auto">
            <a:xfrm>
              <a:off x="7112986" y="5723324"/>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9" name="Freeform 8"/>
            <p:cNvSpPr>
              <a:spLocks/>
            </p:cNvSpPr>
            <p:nvPr/>
          </p:nvSpPr>
          <p:spPr bwMode="auto">
            <a:xfrm>
              <a:off x="9306606" y="5710321"/>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0" name="Freeform 16"/>
            <p:cNvSpPr>
              <a:spLocks noEditPoints="1"/>
            </p:cNvSpPr>
            <p:nvPr/>
          </p:nvSpPr>
          <p:spPr bwMode="auto">
            <a:xfrm>
              <a:off x="9766844" y="5700351"/>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1" name="Freeform 29"/>
            <p:cNvSpPr>
              <a:spLocks/>
            </p:cNvSpPr>
            <p:nvPr/>
          </p:nvSpPr>
          <p:spPr bwMode="auto">
            <a:xfrm>
              <a:off x="10548385" y="571032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2" name="Freeform 7"/>
            <p:cNvSpPr>
              <a:spLocks/>
            </p:cNvSpPr>
            <p:nvPr/>
          </p:nvSpPr>
          <p:spPr bwMode="auto">
            <a:xfrm>
              <a:off x="6111081" y="53368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3" name="Freeform 12"/>
            <p:cNvSpPr>
              <a:spLocks/>
            </p:cNvSpPr>
            <p:nvPr/>
          </p:nvSpPr>
          <p:spPr bwMode="auto">
            <a:xfrm>
              <a:off x="6598033" y="5336886"/>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4" name="Freeform 23"/>
            <p:cNvSpPr>
              <a:spLocks/>
            </p:cNvSpPr>
            <p:nvPr/>
          </p:nvSpPr>
          <p:spPr bwMode="auto">
            <a:xfrm>
              <a:off x="7112986" y="5336886"/>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5" name="Freeform 8"/>
            <p:cNvSpPr>
              <a:spLocks/>
            </p:cNvSpPr>
            <p:nvPr/>
          </p:nvSpPr>
          <p:spPr bwMode="auto">
            <a:xfrm>
              <a:off x="9306606"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6" name="Freeform 15"/>
            <p:cNvSpPr>
              <a:spLocks noEditPoints="1"/>
            </p:cNvSpPr>
            <p:nvPr/>
          </p:nvSpPr>
          <p:spPr bwMode="auto">
            <a:xfrm>
              <a:off x="9766844" y="5313913"/>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7" name="Freeform 29"/>
            <p:cNvSpPr>
              <a:spLocks/>
            </p:cNvSpPr>
            <p:nvPr/>
          </p:nvSpPr>
          <p:spPr bwMode="auto">
            <a:xfrm>
              <a:off x="10548385" y="5323883"/>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8" name="Freeform 7"/>
            <p:cNvSpPr>
              <a:spLocks/>
            </p:cNvSpPr>
            <p:nvPr/>
          </p:nvSpPr>
          <p:spPr bwMode="auto">
            <a:xfrm>
              <a:off x="6111081"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19" name="Freeform 21"/>
            <p:cNvSpPr>
              <a:spLocks noEditPoints="1"/>
            </p:cNvSpPr>
            <p:nvPr/>
          </p:nvSpPr>
          <p:spPr bwMode="auto">
            <a:xfrm>
              <a:off x="11282288" y="5218320"/>
              <a:ext cx="222402" cy="29199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0" name="Freeform 21"/>
            <p:cNvSpPr>
              <a:spLocks noEditPoints="1"/>
            </p:cNvSpPr>
            <p:nvPr/>
          </p:nvSpPr>
          <p:spPr bwMode="auto">
            <a:xfrm>
              <a:off x="8886561" y="5723324"/>
              <a:ext cx="200865" cy="263721"/>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1" name="Freeform 16"/>
            <p:cNvSpPr>
              <a:spLocks noEditPoints="1"/>
            </p:cNvSpPr>
            <p:nvPr/>
          </p:nvSpPr>
          <p:spPr bwMode="auto">
            <a:xfrm>
              <a:off x="11612381"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2" name="Freeform 16"/>
            <p:cNvSpPr>
              <a:spLocks noEditPoints="1"/>
            </p:cNvSpPr>
            <p:nvPr/>
          </p:nvSpPr>
          <p:spPr bwMode="auto">
            <a:xfrm>
              <a:off x="12145192" y="5219174"/>
              <a:ext cx="193430" cy="29114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3" name="Freeform 5"/>
            <p:cNvSpPr>
              <a:spLocks/>
            </p:cNvSpPr>
            <p:nvPr/>
          </p:nvSpPr>
          <p:spPr bwMode="auto">
            <a:xfrm>
              <a:off x="11883858" y="5242985"/>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6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24" name="Group 746"/>
            <p:cNvGrpSpPr/>
            <p:nvPr/>
          </p:nvGrpSpPr>
          <p:grpSpPr>
            <a:xfrm>
              <a:off x="4567099" y="6184673"/>
              <a:ext cx="267226" cy="360869"/>
              <a:chOff x="7011958" y="-48945"/>
              <a:chExt cx="557213" cy="752475"/>
            </a:xfrm>
            <a:solidFill>
              <a:schemeClr val="tx1">
                <a:lumMod val="75000"/>
                <a:lumOff val="25000"/>
                <a:alpha val="5000"/>
              </a:schemeClr>
            </a:solidFill>
          </p:grpSpPr>
          <p:sp>
            <p:nvSpPr>
              <p:cNvPr id="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25" name="Freeform 19"/>
            <p:cNvSpPr>
              <a:spLocks/>
            </p:cNvSpPr>
            <p:nvPr/>
          </p:nvSpPr>
          <p:spPr bwMode="auto">
            <a:xfrm>
              <a:off x="4988356"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6" name="Freeform 7"/>
            <p:cNvSpPr>
              <a:spLocks/>
            </p:cNvSpPr>
            <p:nvPr/>
          </p:nvSpPr>
          <p:spPr bwMode="auto">
            <a:xfrm>
              <a:off x="5468221" y="6186833"/>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7" name="Freeform 8"/>
            <p:cNvSpPr>
              <a:spLocks/>
            </p:cNvSpPr>
            <p:nvPr/>
          </p:nvSpPr>
          <p:spPr bwMode="auto">
            <a:xfrm>
              <a:off x="576921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8" name="Freeform 23"/>
            <p:cNvSpPr>
              <a:spLocks/>
            </p:cNvSpPr>
            <p:nvPr/>
          </p:nvSpPr>
          <p:spPr bwMode="auto">
            <a:xfrm>
              <a:off x="6551364" y="6186833"/>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29" name="Freeform 24"/>
            <p:cNvSpPr>
              <a:spLocks/>
            </p:cNvSpPr>
            <p:nvPr/>
          </p:nvSpPr>
          <p:spPr bwMode="auto">
            <a:xfrm>
              <a:off x="685642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0" name="Freeform 17"/>
            <p:cNvSpPr>
              <a:spLocks/>
            </p:cNvSpPr>
            <p:nvPr/>
          </p:nvSpPr>
          <p:spPr bwMode="auto">
            <a:xfrm>
              <a:off x="7159946" y="6186831"/>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1" name="Freeform 18"/>
            <p:cNvSpPr>
              <a:spLocks noEditPoints="1"/>
            </p:cNvSpPr>
            <p:nvPr/>
          </p:nvSpPr>
          <p:spPr bwMode="auto">
            <a:xfrm>
              <a:off x="7494554"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2" name="Freeform 20"/>
            <p:cNvSpPr>
              <a:spLocks noEditPoints="1"/>
            </p:cNvSpPr>
            <p:nvPr/>
          </p:nvSpPr>
          <p:spPr bwMode="auto">
            <a:xfrm>
              <a:off x="7947969"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3" name="Group 740"/>
            <p:cNvGrpSpPr/>
            <p:nvPr/>
          </p:nvGrpSpPr>
          <p:grpSpPr>
            <a:xfrm>
              <a:off x="6110525" y="6184673"/>
              <a:ext cx="267226" cy="360869"/>
              <a:chOff x="7011958" y="-48945"/>
              <a:chExt cx="557213" cy="752475"/>
            </a:xfrm>
            <a:solidFill>
              <a:schemeClr val="tx1">
                <a:lumMod val="50000"/>
                <a:lumOff val="50000"/>
                <a:alpha val="10000"/>
              </a:schemeClr>
            </a:solidFill>
          </p:grpSpPr>
          <p:sp>
            <p:nvSpPr>
              <p:cNvPr id="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34" name="Freeform 21"/>
            <p:cNvSpPr>
              <a:spLocks noEditPoints="1"/>
            </p:cNvSpPr>
            <p:nvPr/>
          </p:nvSpPr>
          <p:spPr bwMode="auto">
            <a:xfrm>
              <a:off x="8698001" y="6184673"/>
              <a:ext cx="294356" cy="386468"/>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5" name="Freeform 16"/>
            <p:cNvSpPr>
              <a:spLocks noEditPoints="1"/>
            </p:cNvSpPr>
            <p:nvPr/>
          </p:nvSpPr>
          <p:spPr bwMode="auto">
            <a:xfrm>
              <a:off x="9132784"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6" name="Freeform 16"/>
            <p:cNvSpPr>
              <a:spLocks noEditPoints="1"/>
            </p:cNvSpPr>
            <p:nvPr/>
          </p:nvSpPr>
          <p:spPr bwMode="auto">
            <a:xfrm>
              <a:off x="9751830" y="6180696"/>
              <a:ext cx="245196" cy="36905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7" name="Freeform 5"/>
            <p:cNvSpPr>
              <a:spLocks/>
            </p:cNvSpPr>
            <p:nvPr/>
          </p:nvSpPr>
          <p:spPr bwMode="auto">
            <a:xfrm>
              <a:off x="9483028" y="6186834"/>
              <a:ext cx="128919"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38" name="Freeform 20"/>
            <p:cNvSpPr>
              <a:spLocks noEditPoints="1"/>
            </p:cNvSpPr>
            <p:nvPr/>
          </p:nvSpPr>
          <p:spPr bwMode="auto">
            <a:xfrm>
              <a:off x="10359794" y="6180696"/>
              <a:ext cx="245196" cy="369059"/>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24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39" name="Group 746"/>
            <p:cNvGrpSpPr/>
            <p:nvPr/>
          </p:nvGrpSpPr>
          <p:grpSpPr>
            <a:xfrm>
              <a:off x="10811151" y="6184673"/>
              <a:ext cx="267226" cy="360869"/>
              <a:chOff x="7011958" y="-48945"/>
              <a:chExt cx="557213" cy="752475"/>
            </a:xfrm>
            <a:solidFill>
              <a:schemeClr val="tx1">
                <a:lumMod val="75000"/>
                <a:lumOff val="25000"/>
                <a:alpha val="26000"/>
              </a:schemeClr>
            </a:solidFill>
          </p:grpSpPr>
          <p:sp>
            <p:nvSpPr>
              <p:cNvPr id="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0" name="Freeform 18"/>
            <p:cNvSpPr>
              <a:spLocks noEditPoints="1"/>
            </p:cNvSpPr>
            <p:nvPr/>
          </p:nvSpPr>
          <p:spPr bwMode="auto">
            <a:xfrm>
              <a:off x="11767763" y="6180696"/>
              <a:ext cx="245196" cy="369059"/>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1" name="Freeform 19"/>
            <p:cNvSpPr>
              <a:spLocks/>
            </p:cNvSpPr>
            <p:nvPr/>
          </p:nvSpPr>
          <p:spPr bwMode="auto">
            <a:xfrm>
              <a:off x="12177814" y="6186833"/>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42" name="Group 740"/>
            <p:cNvGrpSpPr/>
            <p:nvPr/>
          </p:nvGrpSpPr>
          <p:grpSpPr>
            <a:xfrm>
              <a:off x="7466740" y="5821536"/>
              <a:ext cx="267226" cy="360869"/>
              <a:chOff x="7011958" y="-48945"/>
              <a:chExt cx="557213" cy="752475"/>
            </a:xfrm>
            <a:solidFill>
              <a:schemeClr val="tx1">
                <a:lumMod val="75000"/>
                <a:lumOff val="25000"/>
                <a:alpha val="15000"/>
              </a:schemeClr>
            </a:solidFill>
          </p:grpSpPr>
          <p:sp>
            <p:nvSpPr>
              <p:cNvPr id="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43" name="Freeform 21"/>
            <p:cNvSpPr>
              <a:spLocks noEditPoints="1"/>
            </p:cNvSpPr>
            <p:nvPr/>
          </p:nvSpPr>
          <p:spPr bwMode="auto">
            <a:xfrm>
              <a:off x="11300805" y="6198550"/>
              <a:ext cx="267498" cy="35120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lumMod val="75000"/>
                <a:lumOff val="25000"/>
                <a:alpha val="4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4" name="Freeform 7"/>
            <p:cNvSpPr>
              <a:spLocks/>
            </p:cNvSpPr>
            <p:nvPr/>
          </p:nvSpPr>
          <p:spPr bwMode="auto">
            <a:xfrm>
              <a:off x="581909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5" name="Freeform 7"/>
            <p:cNvSpPr>
              <a:spLocks/>
            </p:cNvSpPr>
            <p:nvPr/>
          </p:nvSpPr>
          <p:spPr bwMode="auto">
            <a:xfrm>
              <a:off x="5540329" y="5751586"/>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6" name="Freeform 8"/>
            <p:cNvSpPr>
              <a:spLocks/>
            </p:cNvSpPr>
            <p:nvPr/>
          </p:nvSpPr>
          <p:spPr bwMode="auto">
            <a:xfrm>
              <a:off x="8886887" y="5323883"/>
              <a:ext cx="99706" cy="28117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75000"/>
                <a:lumOff val="25000"/>
                <a:alpha val="22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7" name="Freeform 13"/>
            <p:cNvSpPr>
              <a:spLocks/>
            </p:cNvSpPr>
            <p:nvPr/>
          </p:nvSpPr>
          <p:spPr bwMode="auto">
            <a:xfrm>
              <a:off x="11598428" y="4317219"/>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8" name="Freeform 23"/>
            <p:cNvSpPr>
              <a:spLocks/>
            </p:cNvSpPr>
            <p:nvPr/>
          </p:nvSpPr>
          <p:spPr bwMode="auto">
            <a:xfrm>
              <a:off x="12113381" y="4317219"/>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49" name="Freeform 7"/>
            <p:cNvSpPr>
              <a:spLocks/>
            </p:cNvSpPr>
            <p:nvPr/>
          </p:nvSpPr>
          <p:spPr bwMode="auto">
            <a:xfrm>
              <a:off x="11111476"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0" name="Freeform 8"/>
            <p:cNvSpPr>
              <a:spLocks/>
            </p:cNvSpPr>
            <p:nvPr/>
          </p:nvSpPr>
          <p:spPr bwMode="auto">
            <a:xfrm>
              <a:off x="1076961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1" name="Freeform 23"/>
            <p:cNvSpPr>
              <a:spLocks/>
            </p:cNvSpPr>
            <p:nvPr/>
          </p:nvSpPr>
          <p:spPr bwMode="auto">
            <a:xfrm>
              <a:off x="11551759" y="4780728"/>
              <a:ext cx="131447" cy="356420"/>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2" name="Freeform 24"/>
            <p:cNvSpPr>
              <a:spLocks/>
            </p:cNvSpPr>
            <p:nvPr/>
          </p:nvSpPr>
          <p:spPr bwMode="auto">
            <a:xfrm>
              <a:off x="11856819" y="4780728"/>
              <a:ext cx="131447" cy="356420"/>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3" name="Freeform 17"/>
            <p:cNvSpPr>
              <a:spLocks/>
            </p:cNvSpPr>
            <p:nvPr/>
          </p:nvSpPr>
          <p:spPr bwMode="auto">
            <a:xfrm>
              <a:off x="12160341" y="4780726"/>
              <a:ext cx="126390" cy="356421"/>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nvGrpSpPr>
            <p:cNvPr id="54" name="Group 740"/>
            <p:cNvGrpSpPr/>
            <p:nvPr/>
          </p:nvGrpSpPr>
          <p:grpSpPr>
            <a:xfrm>
              <a:off x="11110920" y="4778568"/>
              <a:ext cx="267226" cy="360869"/>
              <a:chOff x="7011958" y="-48945"/>
              <a:chExt cx="557213" cy="752475"/>
            </a:xfrm>
            <a:solidFill>
              <a:schemeClr val="tx1">
                <a:lumMod val="50000"/>
                <a:lumOff val="50000"/>
                <a:alpha val="10000"/>
              </a:schemeClr>
            </a:solidFill>
          </p:grpSpPr>
          <p:sp>
            <p:nvSpPr>
              <p:cNvPr id="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sp>
          <p:nvSpPr>
            <p:cNvPr id="55" name="Freeform 7"/>
            <p:cNvSpPr>
              <a:spLocks/>
            </p:cNvSpPr>
            <p:nvPr/>
          </p:nvSpPr>
          <p:spPr bwMode="auto">
            <a:xfrm>
              <a:off x="1081949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6" name="Freeform 7"/>
            <p:cNvSpPr>
              <a:spLocks/>
            </p:cNvSpPr>
            <p:nvPr/>
          </p:nvSpPr>
          <p:spPr bwMode="auto">
            <a:xfrm>
              <a:off x="10540724" y="43454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75000"/>
                <a:lumOff val="25000"/>
                <a:alpha val="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7" name="Freeform 8"/>
            <p:cNvSpPr>
              <a:spLocks/>
            </p:cNvSpPr>
            <p:nvPr/>
          </p:nvSpPr>
          <p:spPr bwMode="auto">
            <a:xfrm>
              <a:off x="9758526" y="4416216"/>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8" name="Freeform 16"/>
            <p:cNvSpPr>
              <a:spLocks noEditPoints="1"/>
            </p:cNvSpPr>
            <p:nvPr/>
          </p:nvSpPr>
          <p:spPr bwMode="auto">
            <a:xfrm>
              <a:off x="10182200" y="4407038"/>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59" name="Freeform 8"/>
            <p:cNvSpPr>
              <a:spLocks/>
            </p:cNvSpPr>
            <p:nvPr/>
          </p:nvSpPr>
          <p:spPr bwMode="auto">
            <a:xfrm>
              <a:off x="9758526"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0" name="Freeform 16"/>
            <p:cNvSpPr>
              <a:spLocks noEditPoints="1"/>
            </p:cNvSpPr>
            <p:nvPr/>
          </p:nvSpPr>
          <p:spPr bwMode="auto">
            <a:xfrm>
              <a:off x="10182200" y="4051301"/>
              <a:ext cx="178063" cy="2680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1" name="Freeform 21"/>
            <p:cNvSpPr>
              <a:spLocks noEditPoints="1"/>
            </p:cNvSpPr>
            <p:nvPr/>
          </p:nvSpPr>
          <p:spPr bwMode="auto">
            <a:xfrm>
              <a:off x="9371852" y="4428186"/>
              <a:ext cx="184907" cy="24276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2" name="Freeform 21"/>
            <p:cNvSpPr>
              <a:spLocks noEditPoints="1"/>
            </p:cNvSpPr>
            <p:nvPr/>
          </p:nvSpPr>
          <p:spPr bwMode="auto">
            <a:xfrm>
              <a:off x="9198272" y="4852882"/>
              <a:ext cx="270971" cy="355765"/>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3" name="Freeform 16"/>
            <p:cNvSpPr>
              <a:spLocks noEditPoints="1"/>
            </p:cNvSpPr>
            <p:nvPr/>
          </p:nvSpPr>
          <p:spPr bwMode="auto">
            <a:xfrm>
              <a:off x="9598514"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4" name="Freeform 16"/>
            <p:cNvSpPr>
              <a:spLocks noEditPoints="1"/>
            </p:cNvSpPr>
            <p:nvPr/>
          </p:nvSpPr>
          <p:spPr bwMode="auto">
            <a:xfrm>
              <a:off x="10168379" y="4849221"/>
              <a:ext cx="225716" cy="339739"/>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5" name="Freeform 5"/>
            <p:cNvSpPr>
              <a:spLocks/>
            </p:cNvSpPr>
            <p:nvPr/>
          </p:nvSpPr>
          <p:spPr bwMode="auto">
            <a:xfrm>
              <a:off x="9920932" y="4854872"/>
              <a:ext cx="118677" cy="328104"/>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6" name="Freeform 8"/>
            <p:cNvSpPr>
              <a:spLocks/>
            </p:cNvSpPr>
            <p:nvPr/>
          </p:nvSpPr>
          <p:spPr bwMode="auto">
            <a:xfrm>
              <a:off x="9372152" y="4060479"/>
              <a:ext cx="91785" cy="258833"/>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5">
                <a:alpha val="7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7" name="Freeform 7"/>
            <p:cNvSpPr>
              <a:spLocks/>
            </p:cNvSpPr>
            <p:nvPr/>
          </p:nvSpPr>
          <p:spPr bwMode="auto">
            <a:xfrm>
              <a:off x="11111476" y="3930781"/>
              <a:ext cx="101701"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8" name="Freeform 13"/>
            <p:cNvSpPr>
              <a:spLocks/>
            </p:cNvSpPr>
            <p:nvPr/>
          </p:nvSpPr>
          <p:spPr bwMode="auto">
            <a:xfrm>
              <a:off x="11598428" y="3930781"/>
              <a:ext cx="103695" cy="281171"/>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50000"/>
                <a:lumOff val="50000"/>
                <a:alpha val="10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69" name="Freeform 23"/>
            <p:cNvSpPr>
              <a:spLocks/>
            </p:cNvSpPr>
            <p:nvPr/>
          </p:nvSpPr>
          <p:spPr bwMode="auto">
            <a:xfrm>
              <a:off x="12113381" y="3930781"/>
              <a:ext cx="103695" cy="281171"/>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tx1">
                <a:lumMod val="75000"/>
                <a:lumOff val="25000"/>
                <a:alpha val="11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0" name="Freeform 69"/>
            <p:cNvSpPr>
              <a:spLocks/>
            </p:cNvSpPr>
            <p:nvPr/>
          </p:nvSpPr>
          <p:spPr bwMode="auto">
            <a:xfrm>
              <a:off x="8201024" y="5686425"/>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tx1">
                <a:lumMod val="75000"/>
                <a:lumOff val="25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sp>
          <p:nvSpPr>
            <p:cNvPr id="71" name="Freeform 70"/>
            <p:cNvSpPr>
              <a:spLocks/>
            </p:cNvSpPr>
            <p:nvPr/>
          </p:nvSpPr>
          <p:spPr bwMode="auto">
            <a:xfrm>
              <a:off x="8656810" y="4300886"/>
              <a:ext cx="647889" cy="491437"/>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chemeClr val="accent4">
                <a:lumMod val="20000"/>
                <a:lumOff val="80000"/>
                <a:alpha val="15000"/>
              </a:schemeClr>
            </a:solid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000000"/>
                </a:solidFill>
                <a:effectLst/>
                <a:uLnTx/>
                <a:uFillTx/>
                <a:latin typeface="Segoe UI"/>
                <a:ea typeface="MS PGothic" charset="0"/>
                <a:cs typeface="+mn-cs"/>
              </a:endParaRPr>
            </a:p>
          </p:txBody>
        </p:sp>
      </p:grpSp>
      <p:grpSp>
        <p:nvGrpSpPr>
          <p:cNvPr id="82" name="Group 81"/>
          <p:cNvGrpSpPr/>
          <p:nvPr userDrawn="1"/>
        </p:nvGrpSpPr>
        <p:grpSpPr>
          <a:xfrm>
            <a:off x="10167103" y="5499819"/>
            <a:ext cx="1925055" cy="466197"/>
            <a:chOff x="10167102" y="5705209"/>
            <a:chExt cx="1925055" cy="466263"/>
          </a:xfrm>
          <a:solidFill>
            <a:srgbClr val="0065B2"/>
          </a:solidFill>
        </p:grpSpPr>
        <p:sp>
          <p:nvSpPr>
            <p:cNvPr id="83" name="Freeform 18"/>
            <p:cNvSpPr>
              <a:spLocks/>
            </p:cNvSpPr>
            <p:nvPr/>
          </p:nvSpPr>
          <p:spPr bwMode="auto">
            <a:xfrm>
              <a:off x="10167102" y="5707322"/>
              <a:ext cx="149421" cy="459906"/>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4" name="Freeform 19"/>
            <p:cNvSpPr>
              <a:spLocks/>
            </p:cNvSpPr>
            <p:nvPr/>
          </p:nvSpPr>
          <p:spPr bwMode="auto">
            <a:xfrm>
              <a:off x="10358244" y="5707324"/>
              <a:ext cx="149421" cy="45990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5" name="Freeform 17"/>
            <p:cNvSpPr>
              <a:spLocks/>
            </p:cNvSpPr>
            <p:nvPr/>
          </p:nvSpPr>
          <p:spPr bwMode="auto">
            <a:xfrm>
              <a:off x="11206262" y="5710836"/>
              <a:ext cx="157563" cy="433300"/>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6" name="Freeform 18"/>
            <p:cNvSpPr>
              <a:spLocks noEditPoints="1"/>
            </p:cNvSpPr>
            <p:nvPr/>
          </p:nvSpPr>
          <p:spPr bwMode="auto">
            <a:xfrm>
              <a:off x="11405627" y="5705212"/>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7" name="Freeform 18"/>
            <p:cNvSpPr>
              <a:spLocks noEditPoints="1"/>
            </p:cNvSpPr>
            <p:nvPr/>
          </p:nvSpPr>
          <p:spPr bwMode="auto">
            <a:xfrm>
              <a:off x="10871339" y="5705209"/>
              <a:ext cx="307892" cy="466260"/>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8" name="Freeform 18"/>
            <p:cNvSpPr>
              <a:spLocks noEditPoints="1"/>
            </p:cNvSpPr>
            <p:nvPr/>
          </p:nvSpPr>
          <p:spPr bwMode="auto">
            <a:xfrm>
              <a:off x="10544087" y="5705210"/>
              <a:ext cx="307892" cy="466261"/>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sp>
          <p:nvSpPr>
            <p:cNvPr id="89" name="Freeform 21"/>
            <p:cNvSpPr>
              <a:spLocks noEditPoints="1"/>
            </p:cNvSpPr>
            <p:nvPr/>
          </p:nvSpPr>
          <p:spPr bwMode="auto">
            <a:xfrm>
              <a:off x="11746289" y="5708556"/>
              <a:ext cx="345868" cy="454099"/>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grpFill/>
            <a:ln>
              <a:noFill/>
            </a:ln>
          </p:spPr>
          <p:txBody>
            <a:bodyPr vert="horz" wrap="square" lIns="89630" tIns="44814" rIns="89630" bIns="44814"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8217A">
                    <a:lumMod val="40000"/>
                    <a:lumOff val="60000"/>
                  </a:srgbClr>
                </a:solidFill>
                <a:effectLst/>
                <a:uLnTx/>
                <a:uFillTx/>
                <a:latin typeface="Segoe UI"/>
                <a:ea typeface="MS PGothic" charset="0"/>
                <a:cs typeface="+mn-cs"/>
              </a:endParaRPr>
            </a:p>
          </p:txBody>
        </p:sp>
      </p:grpSp>
      <p:sp>
        <p:nvSpPr>
          <p:cNvPr id="90" name="Title 1"/>
          <p:cNvSpPr txBox="1">
            <a:spLocks/>
          </p:cNvSpPr>
          <p:nvPr userDrawn="1"/>
        </p:nvSpPr>
        <p:spPr>
          <a:xfrm>
            <a:off x="309896" y="340565"/>
            <a:ext cx="5244464" cy="3474545"/>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51304" rtl="0" eaLnBrk="1" fontAlgn="auto" latinLnBrk="0" hangingPunct="1">
              <a:lnSpc>
                <a:spcPct val="90000"/>
              </a:lnSpc>
              <a:spcBef>
                <a:spcPct val="0"/>
              </a:spcBef>
              <a:spcAft>
                <a:spcPts val="0"/>
              </a:spcAft>
              <a:buClrTx/>
              <a:buSzTx/>
              <a:buFontTx/>
              <a:buNone/>
              <a:tabLst/>
              <a:defRPr/>
            </a:pPr>
            <a:endParaRPr kumimoji="0" lang="en-US" sz="5399" b="0" i="0" u="none" strike="noStrike" kern="1200" cap="none" spc="-104" normalizeH="0" baseline="0" noProof="0" dirty="0">
              <a:ln w="3175">
                <a:noFill/>
              </a:ln>
              <a:solidFill>
                <a:srgbClr val="0072C6"/>
              </a:solidFill>
              <a:effectLst/>
              <a:uLnTx/>
              <a:uFillTx/>
              <a:latin typeface="Segoe UI Light"/>
              <a:ea typeface="+mn-ea"/>
              <a:cs typeface="Segoe UI" pitchFamily="34" charset="0"/>
            </a:endParaRPr>
          </a:p>
        </p:txBody>
      </p:sp>
      <p:sp>
        <p:nvSpPr>
          <p:cNvPr id="91" name="Freeform 90"/>
          <p:cNvSpPr/>
          <p:nvPr userDrawn="1"/>
        </p:nvSpPr>
        <p:spPr bwMode="auto">
          <a:xfrm>
            <a:off x="517790" y="2775167"/>
            <a:ext cx="2862475" cy="179576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2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2" name="Freeform 91"/>
          <p:cNvSpPr>
            <a:spLocks noChangeAspect="1"/>
          </p:cNvSpPr>
          <p:nvPr userDrawn="1"/>
        </p:nvSpPr>
        <p:spPr bwMode="auto">
          <a:xfrm>
            <a:off x="940381" y="3107853"/>
            <a:ext cx="2013729" cy="1275027"/>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4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3" name="Freeform 92"/>
          <p:cNvSpPr>
            <a:spLocks noChangeAspect="1"/>
          </p:cNvSpPr>
          <p:nvPr userDrawn="1"/>
        </p:nvSpPr>
        <p:spPr bwMode="auto">
          <a:xfrm>
            <a:off x="1312097" y="3379499"/>
            <a:ext cx="1273865" cy="80657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94" name="Freeform 93"/>
          <p:cNvSpPr>
            <a:spLocks noChangeAspect="1"/>
          </p:cNvSpPr>
          <p:nvPr userDrawn="1"/>
        </p:nvSpPr>
        <p:spPr bwMode="auto">
          <a:xfrm>
            <a:off x="1584147" y="3587566"/>
            <a:ext cx="729764" cy="4620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rgbClr val="0065B2">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a:xfrm>
            <a:off x="274639" y="34984"/>
            <a:ext cx="5364246" cy="2433673"/>
          </a:xfrm>
        </p:spPr>
        <p:txBody>
          <a:bodyPr/>
          <a:lstStyle>
            <a:lvl1pPr>
              <a:defRPr>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0885371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3055077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2"/>
          <p:cNvSpPr>
            <a:spLocks noGrp="1"/>
          </p:cNvSpPr>
          <p:nvPr>
            <p:ph type="title"/>
          </p:nvPr>
        </p:nvSpPr>
        <p:spPr>
          <a:xfrm>
            <a:off x="365760" y="365760"/>
            <a:ext cx="11889564" cy="91757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452409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6923041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88611030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smtClean="0"/>
              <a:t>Presentation title</a:t>
            </a:r>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4488" baseline="0">
                <a:solidFill>
                  <a:schemeClr val="tx1"/>
                </a:solidFill>
              </a:defRPr>
            </a:lvl1pPr>
          </a:lstStyle>
          <a:p>
            <a:r>
              <a:rPr lang="en-US" dirty="0" smtClean="0"/>
              <a:t>Lorem ipsum dolor sit</a:t>
            </a:r>
            <a:br>
              <a:rPr lang="en-US" dirty="0" smtClean="0"/>
            </a:br>
            <a:r>
              <a:rPr lang="en-US" dirty="0" err="1" smtClean="0"/>
              <a:t>amet</a:t>
            </a:r>
            <a:r>
              <a:rPr lang="en-US" dirty="0" smtClean="0"/>
              <a:t>, </a:t>
            </a:r>
            <a:r>
              <a:rPr lang="en-US" dirty="0" err="1" smtClean="0"/>
              <a:t>consectetuer</a:t>
            </a:r>
            <a:r>
              <a:rPr lang="en-US" dirty="0" smtClean="0"/>
              <a:t> </a:t>
            </a:r>
            <a:r>
              <a:rPr lang="en-US" dirty="0" err="1" smtClean="0"/>
              <a:t>adipi</a:t>
            </a:r>
            <a:r>
              <a:rPr lang="en-US" dirty="0" smtClean="0"/>
              <a:t>.</a:t>
            </a:r>
            <a:endParaRPr lang="en-US" dirty="0"/>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59415457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46889742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07467045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805438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4488" baseline="0">
                <a:solidFill>
                  <a:schemeClr val="tx1"/>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3646010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36131159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845404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45785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2908612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210591160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smtClean="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97978609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9529758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6086406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85840182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2105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63702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8078833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92077340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250358488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865512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smtClean="0"/>
              <a:t>Presentation title</a:t>
            </a:r>
            <a:endParaRPr lang="en-US" dirty="0"/>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smtClean="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9869396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0177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085121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883180" y="6632709"/>
            <a:ext cx="3938217" cy="372394"/>
          </a:xfrm>
          <a:prstGeom prst="rect">
            <a:avLst/>
          </a:prstGeom>
        </p:spPr>
        <p:txBody>
          <a:bodyPr lIns="93244" tIns="0" rIns="93244" bIns="46622" anchor="ctr"/>
          <a:lstStyle>
            <a:lvl1pPr algn="r">
              <a:defRPr sz="1499">
                <a:solidFill>
                  <a:schemeClr val="bg1"/>
                </a:solidFill>
                <a:latin typeface="+mn-lt"/>
              </a:defRPr>
            </a:lvl1pPr>
          </a:lstStyle>
          <a:p>
            <a:pPr marL="0" marR="0" lvl="0" indent="0" algn="r" defTabSz="1242666" rtl="0" eaLnBrk="1" fontAlgn="auto" latinLnBrk="0" hangingPunct="1">
              <a:lnSpc>
                <a:spcPct val="100000"/>
              </a:lnSpc>
              <a:spcBef>
                <a:spcPts val="0"/>
              </a:spcBef>
              <a:spcAft>
                <a:spcPts val="0"/>
              </a:spcAft>
              <a:buClrTx/>
              <a:buSzTx/>
              <a:buFontTx/>
              <a:buNone/>
              <a:tabLst/>
              <a:defRPr/>
            </a:pPr>
            <a:r>
              <a:rPr kumimoji="0" lang="en-US" sz="1499" b="0" i="0" u="none" strike="noStrike" kern="1200" cap="none" spc="0" normalizeH="0" baseline="0" noProof="0" smtClean="0">
                <a:ln>
                  <a:noFill/>
                </a:ln>
                <a:solidFill>
                  <a:prstClr val="white"/>
                </a:solidFill>
                <a:effectLst/>
                <a:uLnTx/>
                <a:uFillTx/>
                <a:latin typeface="Segoe UI"/>
                <a:ea typeface="+mn-ea"/>
                <a:cs typeface="Arial"/>
              </a:rPr>
              <a:t>Microsoft Confidential</a:t>
            </a:r>
            <a:endParaRPr kumimoji="0" lang="en-US" sz="1499" b="0" i="0" u="none" strike="noStrike" kern="1200" cap="none" spc="0" normalizeH="0" baseline="0" noProof="0" dirty="0" smtClean="0">
              <a:ln>
                <a:noFill/>
              </a:ln>
              <a:solidFill>
                <a:prstClr val="white"/>
              </a:solidFill>
              <a:effectLst/>
              <a:uLnTx/>
              <a:uFillTx/>
              <a:latin typeface="Segoe UI"/>
              <a:ea typeface="+mn-ea"/>
              <a:cs typeface="Arial"/>
            </a:endParaRPr>
          </a:p>
        </p:txBody>
      </p:sp>
    </p:spTree>
    <p:extLst>
      <p:ext uri="{BB962C8B-B14F-4D97-AF65-F5344CB8AC3E}">
        <p14:creationId xmlns:p14="http://schemas.microsoft.com/office/powerpoint/2010/main" val="44429342"/>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7110459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2757" y="332513"/>
            <a:ext cx="11375536" cy="517941"/>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32756" y="1480112"/>
            <a:ext cx="11607130" cy="121166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fld id="{55CDD7E1-A646-4088-BE0C-DB49A80F5376}" type="datetimeFigureOut">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l" defTabSz="699699" rtl="0" eaLnBrk="1" fontAlgn="auto" latinLnBrk="0" hangingPunct="1">
                <a:lnSpc>
                  <a:spcPct val="100000"/>
                </a:lnSpc>
                <a:spcBef>
                  <a:spcPts val="0"/>
                </a:spcBef>
                <a:spcAft>
                  <a:spcPts val="0"/>
                </a:spcAft>
                <a:buClrTx/>
                <a:buSzTx/>
                <a:buFontTx/>
                <a:buNone/>
                <a:tabLst/>
                <a:defRPr/>
              </a:pPr>
              <a:t>2/23/2016</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marL="0" marR="0" lvl="0" indent="0" algn="l" defTabSz="699699"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marL="0" marR="0" lvl="0" indent="0" algn="r" defTabSz="699699" rtl="0" eaLnBrk="1" fontAlgn="auto" latinLnBrk="0" hangingPunct="1">
              <a:lnSpc>
                <a:spcPct val="100000"/>
              </a:lnSpc>
              <a:spcBef>
                <a:spcPts val="0"/>
              </a:spcBef>
              <a:spcAft>
                <a:spcPts val="0"/>
              </a:spcAft>
              <a:buClrTx/>
              <a:buSzTx/>
              <a:buFontTx/>
              <a:buNone/>
              <a:tabLst/>
              <a:defRPr/>
            </a:pPr>
            <a:fld id="{F920C200-3845-4249-9FA3-EA0449FF460B}" type="slidenum">
              <a:rPr kumimoji="0" lang="en-US" sz="1428"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699699" rtl="0" eaLnBrk="1" fontAlgn="auto" latinLnBrk="0" hangingPunct="1">
                <a:lnSpc>
                  <a:spcPct val="100000"/>
                </a:lnSpc>
                <a:spcBef>
                  <a:spcPts val="0"/>
                </a:spcBef>
                <a:spcAft>
                  <a:spcPts val="0"/>
                </a:spcAft>
                <a:buClrTx/>
                <a:buSzTx/>
                <a:buFontTx/>
                <a:buNone/>
                <a:tabLst/>
                <a:defRPr/>
              </a:pPr>
              <a:t>‹#›</a:t>
            </a:fld>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7" name="Group 2"/>
          <p:cNvGrpSpPr/>
          <p:nvPr userDrawn="1"/>
        </p:nvGrpSpPr>
        <p:grpSpPr>
          <a:xfrm>
            <a:off x="-1200" y="6642289"/>
            <a:ext cx="12436794" cy="360996"/>
            <a:chOff x="2577137" y="4571778"/>
            <a:chExt cx="9101124" cy="1390560"/>
          </a:xfrm>
        </p:grpSpPr>
        <p:sp>
          <p:nvSpPr>
            <p:cNvPr id="8" name="TextBox 7"/>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9" name="TextBox 8"/>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891632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476622"/>
            <a:ext cx="11375536" cy="20403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31995524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smtClean="0"/>
              <a:t>Click to edit Master text styles</a:t>
            </a:r>
          </a:p>
          <a:p>
            <a:pPr lvl="1"/>
            <a:r>
              <a:rPr lang="en-US" smtClean="0"/>
              <a:t>Second level</a:t>
            </a:r>
          </a:p>
        </p:txBody>
      </p:sp>
      <p:grpSp>
        <p:nvGrpSpPr>
          <p:cNvPr id="4" name="Group 2"/>
          <p:cNvGrpSpPr/>
          <p:nvPr userDrawn="1"/>
        </p:nvGrpSpPr>
        <p:grpSpPr>
          <a:xfrm>
            <a:off x="-1200" y="6642289"/>
            <a:ext cx="12436794" cy="360996"/>
            <a:chOff x="2577137" y="4571778"/>
            <a:chExt cx="9101124" cy="1390560"/>
          </a:xfrm>
        </p:grpSpPr>
        <p:sp>
          <p:nvSpPr>
            <p:cNvPr id="6" name="TextBox 5"/>
            <p:cNvSpPr txBox="1"/>
            <p:nvPr/>
          </p:nvSpPr>
          <p:spPr>
            <a:xfrm>
              <a:off x="2577137" y="4571778"/>
              <a:ext cx="3034890" cy="1390458"/>
            </a:xfrm>
            <a:prstGeom prst="rect">
              <a:avLst/>
            </a:prstGeom>
            <a:solidFill>
              <a:schemeClr val="accent1"/>
            </a:solidFill>
          </p:spPr>
          <p:txBody>
            <a:bodyPr wrap="square" lIns="457135" tIns="137141" rIns="365707" rtlCol="0">
              <a:noAutofit/>
            </a:bodyPr>
            <a:lstStyle/>
            <a:p>
              <a:pPr marL="0" marR="0" lvl="0" indent="0" algn="l" defTabSz="932515" rtl="0" eaLnBrk="1" fontAlgn="auto" latinLnBrk="0" hangingPunct="1">
                <a:lnSpc>
                  <a:spcPts val="306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7" name="TextBox 6"/>
            <p:cNvSpPr txBox="1"/>
            <p:nvPr/>
          </p:nvSpPr>
          <p:spPr>
            <a:xfrm>
              <a:off x="5612027" y="4572324"/>
              <a:ext cx="6066234" cy="1390014"/>
            </a:xfrm>
            <a:prstGeom prst="rect">
              <a:avLst/>
            </a:prstGeom>
            <a:solidFill>
              <a:schemeClr val="accent1">
                <a:lumMod val="50000"/>
              </a:schemeClr>
            </a:solidFill>
          </p:spPr>
          <p:txBody>
            <a:bodyPr wrap="square" lIns="457135" tIns="137141" rIns="639989" rtlCol="0">
              <a:noAutofit/>
            </a:bodyPr>
            <a:lstStyle/>
            <a:p>
              <a:pPr marL="0" marR="0" lvl="0" indent="0" algn="l" defTabSz="932055" rtl="0" eaLnBrk="1" fontAlgn="auto" latinLnBrk="0" hangingPunct="1">
                <a:lnSpc>
                  <a:spcPts val="3001"/>
                </a:lnSpc>
                <a:spcBef>
                  <a:spcPts val="0"/>
                </a:spcBef>
                <a:spcAft>
                  <a:spcPts val="0"/>
                </a:spcAft>
                <a:buClrTx/>
                <a:buSzTx/>
                <a:buFontTx/>
                <a:buNone/>
                <a:tabLst/>
                <a:defRPr/>
              </a:pPr>
              <a:endParaRPr kumimoji="0" lang="en-US" sz="2856" b="0" i="0" u="none" strike="noStrike" kern="0" cap="none" spc="0" normalizeH="0" baseline="0" noProof="0" dirty="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138756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199">
                <a:solidFill>
                  <a:schemeClr val="tx2"/>
                </a:solidFill>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marL="0" marR="0" lvl="0" indent="0" algn="l" defTabSz="932563"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smtClean="0">
                <a:ln>
                  <a:noFill/>
                </a:ln>
                <a:solidFill>
                  <a:srgbClr val="002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pPr marL="0" marR="0" lvl="0" indent="0" algn="r" defTabSz="931684" rtl="0" eaLnBrk="1" fontAlgn="base" latinLnBrk="0" hangingPunct="1">
              <a:lnSpc>
                <a:spcPct val="100000"/>
              </a:lnSpc>
              <a:spcBef>
                <a:spcPct val="0"/>
              </a:spcBef>
              <a:spcAft>
                <a:spcPct val="0"/>
              </a:spcAft>
              <a:buClrTx/>
              <a:buSzTx/>
              <a:buFontTx/>
              <a:buNone/>
              <a:tabLst/>
              <a:defRPr/>
            </a:pPr>
            <a:fld id="{EC136591-509A-F246-B30E-5ECE4A4A5F5E}"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1684"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399030804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5"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smtClean="0"/>
              <a:t> </a:t>
            </a:r>
            <a:endParaRPr lang="en-US"/>
          </a:p>
        </p:txBody>
      </p:sp>
    </p:spTree>
    <p:extLst>
      <p:ext uri="{BB962C8B-B14F-4D97-AF65-F5344CB8AC3E}">
        <p14:creationId xmlns:p14="http://schemas.microsoft.com/office/powerpoint/2010/main" val="2102275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a:p>
        </p:txBody>
      </p:sp>
      <p:pic>
        <p:nvPicPr>
          <p:cNvPr id="5" name="Picture 4"/>
          <p:cNvPicPr>
            <a:picLocks noChangeAspect="1"/>
          </p:cNvPicPr>
          <p:nvPr userDrawn="1"/>
        </p:nvPicPr>
        <p:blipFill>
          <a:blip r:embed="rId2"/>
          <a:stretch>
            <a:fillRect/>
          </a:stretch>
        </p:blipFill>
        <p:spPr>
          <a:xfrm>
            <a:off x="470315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6249570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61961667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3384866"/>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359759425"/>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62952004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33020619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90"/>
            <a:ext cx="7670052" cy="3474397"/>
          </a:xfr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02844067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4"/>
            <a:ext cx="9144000" cy="4082870"/>
          </a:xfrm>
        </p:spPr>
        <p:txBody>
          <a:bodyPr/>
          <a:lstStyle>
            <a:lvl1pPr marL="233318" indent="-233318">
              <a:spcBef>
                <a:spcPts val="1199"/>
              </a:spcBef>
              <a:defRPr sz="2600">
                <a:latin typeface="+mn-lt"/>
              </a:defRPr>
            </a:lvl1pPr>
            <a:lvl2pPr marL="690430" indent="-233318">
              <a:spcBef>
                <a:spcPts val="1199"/>
              </a:spcBef>
              <a:buSzPct val="100000"/>
              <a:buFont typeface="Segoe UI" pitchFamily="34" charset="0"/>
              <a:buChar char="‐"/>
              <a:defRPr/>
            </a:lvl2pPr>
            <a:lvl3pPr marL="1147543" indent="-233318">
              <a:spcBef>
                <a:spcPts val="1199"/>
              </a:spcBef>
              <a:buFont typeface="Wingdings" pitchFamily="2" charset="2"/>
              <a:buChar char="§"/>
              <a:defRPr/>
            </a:lvl3pPr>
            <a:lvl4pPr marL="1599893" indent="-342834">
              <a:spcBef>
                <a:spcPts val="1199"/>
              </a:spcBef>
              <a:buFont typeface="+mj-lt"/>
              <a:buAutoNum type="arabicPeriod"/>
              <a:defRPr/>
            </a:lvl4pPr>
            <a:lvl5pPr marL="1945901" indent="-342834">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01837916"/>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p:spPr>
        <p:txBody>
          <a:bodyPr/>
          <a:lstStyle>
            <a:lvl1pPr marL="0" indent="0">
              <a:lnSpc>
                <a:spcPts val="3399"/>
              </a:lnSpc>
              <a:spcBef>
                <a:spcPts val="3599"/>
              </a:spcBef>
              <a:buNone/>
              <a:defRPr sz="3000" baseline="0">
                <a:solidFill>
                  <a:schemeClr val="tx2"/>
                </a:solidFill>
                <a:latin typeface="+mj-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9844181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097302"/>
          </a:xfrm>
        </p:spPr>
        <p:txBody>
          <a:bodyPr lIns="146304" tIns="91440" rIns="146304" bIns="91440"/>
          <a:lstStyle>
            <a:lvl1pPr>
              <a:lnSpc>
                <a:spcPts val="6299"/>
              </a:lnSpc>
              <a:defRPr sz="5799" baseline="0">
                <a:solidFill>
                  <a:schemeClr val="accent2"/>
                </a:solidFill>
              </a:defRPr>
            </a:lvl1pPr>
          </a:lstStyle>
          <a:p>
            <a:r>
              <a:rPr lang="en-US" dirty="0" smtClean="0"/>
              <a:t>Lorem ipsum dolor sit.</a:t>
            </a:r>
            <a:endParaRPr lang="en-US" dirty="0"/>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26415395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74638" y="1582678"/>
            <a:ext cx="6400800" cy="507831"/>
          </a:xfrm>
        </p:spPr>
        <p:txBody>
          <a:bodyPr lIns="182880" rIns="182880"/>
          <a:lstStyle>
            <a:lvl1pPr marL="0" indent="0">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65313952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4"/>
          <p:cNvSpPr>
            <a:spLocks noGrp="1"/>
          </p:cNvSpPr>
          <p:nvPr>
            <p:ph type="body" sz="quarter" idx="11"/>
          </p:nvPr>
        </p:nvSpPr>
        <p:spPr>
          <a:xfrm>
            <a:off x="274640" y="355513"/>
            <a:ext cx="6400799"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9" y="2125663"/>
            <a:ext cx="3200429" cy="2743200"/>
          </a:xfrm>
        </p:spPr>
        <p:txBody>
          <a:bodyPr/>
          <a:lstStyle>
            <a:lvl1pPr marL="0" indent="0">
              <a:lnSpc>
                <a:spcPct val="100000"/>
              </a:lnSpc>
              <a:spcBef>
                <a:spcPts val="0"/>
              </a:spcBef>
              <a:spcAft>
                <a:spcPts val="3000"/>
              </a:spcAft>
              <a:buNone/>
              <a:defRPr sz="1800">
                <a:latin typeface="+mn-lt"/>
              </a:defRPr>
            </a:lvl1pPr>
            <a:lvl2pPr marL="3174" indent="0">
              <a:lnSpc>
                <a:spcPts val="1449"/>
              </a:lnSpc>
              <a:spcBef>
                <a:spcPts val="0"/>
              </a:spcBef>
              <a:spcAft>
                <a:spcPts val="1199"/>
              </a:spcAft>
              <a:buNone/>
              <a:defRPr sz="1299"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321427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Image &amp; 54pt 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6"/>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Title 1"/>
          <p:cNvSpPr>
            <a:spLocks noGrp="1"/>
          </p:cNvSpPr>
          <p:nvPr>
            <p:ph type="title"/>
          </p:nvPr>
        </p:nvSpPr>
        <p:spPr>
          <a:xfrm>
            <a:off x="274639" y="752476"/>
            <a:ext cx="11612563" cy="5305084"/>
          </a:xfrm>
        </p:spPr>
        <p:txBody>
          <a:bodyPr/>
          <a:lstStyle>
            <a:lvl1pPr>
              <a:defRPr>
                <a:solidFill>
                  <a:schemeClr val="accent2"/>
                </a:solidFill>
              </a:defRPr>
            </a:lvl1pPr>
          </a:lstStyle>
          <a:p>
            <a:r>
              <a:rPr lang="en-US" smtClean="0"/>
              <a:t>Click to edit Master title style</a:t>
            </a:r>
            <a:endParaRPr lang="en-US" dirty="0"/>
          </a:p>
        </p:txBody>
      </p:sp>
      <p:sp>
        <p:nvSpPr>
          <p:cNvPr id="3" name="Footer Placeholder 2"/>
          <p:cNvSpPr>
            <a:spLocks noGrp="1"/>
          </p:cNvSpPr>
          <p:nvPr>
            <p:ph type="ftr" sz="quarter" idx="11"/>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2248442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74638" y="2674311"/>
            <a:ext cx="8229574" cy="523202"/>
          </a:xfrm>
        </p:spPr>
        <p:txBody>
          <a:bodyPr lIns="182880"/>
          <a:lstStyle>
            <a:lvl1pPr marL="0" indent="0">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74639" y="355513"/>
            <a:ext cx="8229574" cy="629914"/>
          </a:xfrm>
        </p:spPr>
        <p:txBody>
          <a:bodyPr lIns="146304" tIns="109728" rIns="146304" bIns="109728" anchor="t" anchorCtr="0"/>
          <a:lstStyle>
            <a:lvl1pPr marL="0" indent="0">
              <a:lnSpc>
                <a:spcPts val="3599"/>
              </a:lnSpc>
              <a:buFontTx/>
              <a:buNone/>
              <a:defRPr sz="35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74638"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261879"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249120"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236361" y="3771579"/>
            <a:ext cx="2742914" cy="2743200"/>
          </a:xfrm>
          <a:noFill/>
        </p:spPr>
        <p:txBody>
          <a:bodyPr lIns="182880" tIns="146304" rIns="182880" bIns="146304" anchor="b" anchorCtr="0">
            <a:noAutofit/>
          </a:bodyPr>
          <a:lstStyle>
            <a:lvl1pPr marL="0" indent="0">
              <a:lnSpc>
                <a:spcPct val="100000"/>
              </a:lnSpc>
              <a:spcBef>
                <a:spcPts val="600"/>
              </a:spcBef>
              <a:buFontTx/>
              <a:buNone/>
              <a:defRPr sz="2400">
                <a:solidFill>
                  <a:schemeClr val="bg1"/>
                </a:solidFill>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740539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834" indent="0">
              <a:buNone/>
              <a:defRPr/>
            </a:lvl2pPr>
            <a:lvl3pPr marL="571390" indent="0">
              <a:buNone/>
              <a:defRPr/>
            </a:lvl3pPr>
            <a:lvl4pPr marL="799946" indent="0">
              <a:buNone/>
              <a:defRPr/>
            </a:lvl4pPr>
            <a:lvl5pPr marL="1028503" indent="0">
              <a:buNone/>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149803802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Text Placeholder 4"/>
          <p:cNvSpPr>
            <a:spLocks noGrp="1"/>
          </p:cNvSpPr>
          <p:nvPr>
            <p:ph type="body" sz="quarter" idx="10"/>
          </p:nvPr>
        </p:nvSpPr>
        <p:spPr>
          <a:xfrm>
            <a:off x="274819"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78194721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5" y="1499851"/>
            <a:ext cx="8244658" cy="677108"/>
          </a:xfrm>
        </p:spPr>
        <p:txBody>
          <a:bodyPr lIns="146304" tIns="91440" rIns="146304" bIns="91440"/>
          <a:lstStyle>
            <a:lvl1pPr marL="0" indent="0">
              <a:lnSpc>
                <a:spcPct val="90000"/>
              </a:lnSpc>
              <a:buFontTx/>
              <a:buNone/>
              <a:defRPr sz="4799">
                <a:solidFill>
                  <a:schemeClr val="tx2"/>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Text Placeholder 4"/>
          <p:cNvSpPr>
            <a:spLocks noGrp="1"/>
          </p:cNvSpPr>
          <p:nvPr>
            <p:ph type="body" sz="quarter" idx="10"/>
          </p:nvPr>
        </p:nvSpPr>
        <p:spPr>
          <a:xfrm>
            <a:off x="274820" y="375658"/>
            <a:ext cx="6400614"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21212313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19" y="375658"/>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02" indent="0">
              <a:buFontTx/>
              <a:buNone/>
              <a:defRPr sz="2400">
                <a:latin typeface="Segoe Pro Light"/>
              </a:defRPr>
            </a:lvl2pPr>
            <a:lvl3pPr marL="571335" indent="0">
              <a:buFontTx/>
              <a:buNone/>
              <a:defRPr sz="2400">
                <a:latin typeface="Segoe Pro Light"/>
              </a:defRPr>
            </a:lvl3pPr>
            <a:lvl4pPr marL="799868" indent="0">
              <a:buFontTx/>
              <a:buNone/>
              <a:defRPr sz="2400">
                <a:latin typeface="Segoe Pro Light"/>
              </a:defRPr>
            </a:lvl4pPr>
            <a:lvl5pPr marL="1028401"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2"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3" y="1091909"/>
            <a:ext cx="2742914" cy="2743200"/>
          </a:xfrm>
        </p:spPr>
        <p:txBody>
          <a:bodyPr lIns="146304" tIns="91440" rIns="146304" bIns="91440">
            <a:noAutofit/>
          </a:bodyPr>
          <a:lstStyle>
            <a:lvl1pPr marL="0" indent="0">
              <a:buFontTx/>
              <a:buNone/>
              <a:defRPr sz="2400">
                <a:solidFill>
                  <a:schemeClr val="tx2"/>
                </a:soli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6"/>
            <a:ext cx="2743200" cy="2560671"/>
          </a:xfrm>
        </p:spPr>
        <p:txBody>
          <a:bodyPr lIns="182880" tIns="146304" bIns="146304">
            <a:noAutofit/>
          </a:bodyPr>
          <a:lstStyle>
            <a:lvl1pPr marL="0" indent="0">
              <a:lnSpc>
                <a:spcPct val="9000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7"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Segoe Pro"/>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2" y="3954457"/>
            <a:ext cx="2742914" cy="2560643"/>
          </a:xfrm>
        </p:spPr>
        <p:txBody>
          <a:bodyPr lIns="182880" tIns="146304" bIns="146304">
            <a:noAutofit/>
          </a:bodyPr>
          <a:lstStyle>
            <a:lvl1pPr marL="0" indent="0">
              <a:lnSpc>
                <a:spcPts val="1440"/>
              </a:lnSpc>
              <a:spcBef>
                <a:spcPts val="300"/>
              </a:spcBef>
              <a:spcAft>
                <a:spcPts val="600"/>
              </a:spcAft>
              <a:buFontTx/>
              <a:buNone/>
              <a:defRPr sz="1199" b="0">
                <a:solidFill>
                  <a:schemeClr val="tx2"/>
                </a:soli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71921125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4642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9"/>
            <a:ext cx="11887200" cy="1828800"/>
          </a:xfrm>
        </p:spPr>
        <p:txBody>
          <a:bodyPr lIns="146304" tIns="91440" rIns="146304" bIns="91440"/>
          <a:lstStyle>
            <a:lvl1pPr marL="0" indent="0">
              <a:lnSpc>
                <a:spcPct val="90000"/>
              </a:lnSpc>
              <a:buFontTx/>
              <a:buNone/>
              <a:defRPr sz="8799" b="0">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81745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9" y="296863"/>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02" indent="0">
              <a:buFontTx/>
              <a:buNone/>
              <a:defRPr sz="3599">
                <a:latin typeface="Segoe Pro Light"/>
              </a:defRPr>
            </a:lvl2pPr>
            <a:lvl3pPr marL="571335" indent="0">
              <a:buFontTx/>
              <a:buNone/>
              <a:defRPr sz="3599">
                <a:latin typeface="Segoe Pro Light"/>
              </a:defRPr>
            </a:lvl3pPr>
            <a:lvl4pPr marL="799868" indent="0">
              <a:buFontTx/>
              <a:buNone/>
              <a:defRPr sz="3599">
                <a:latin typeface="Segoe Pro Light"/>
              </a:defRPr>
            </a:lvl4pPr>
            <a:lvl5pPr marL="1028401" indent="0">
              <a:buFontTx/>
              <a:buNone/>
              <a:defRPr sz="3599">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5881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4329398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2"/>
            <a:ext cx="11228387" cy="1737340"/>
          </a:xfrm>
        </p:spPr>
        <p:txBody>
          <a:bodyPr anchor="ctr"/>
          <a:lstStyle>
            <a:lvl1pPr>
              <a:defRPr sz="5999">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1" y="492476"/>
            <a:ext cx="1250445" cy="266701"/>
          </a:xfrm>
          <a:prstGeom prst="rect">
            <a:avLst/>
          </a:prstGeom>
        </p:spPr>
      </p:pic>
    </p:spTree>
    <p:extLst>
      <p:ext uri="{BB962C8B-B14F-4D97-AF65-F5344CB8AC3E}">
        <p14:creationId xmlns:p14="http://schemas.microsoft.com/office/powerpoint/2010/main" val="345343476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54957164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0825378"/>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82" tIns="38846" rIns="77682" bIns="38846" numCol="1" rtlCol="0" anchor="ctr" anchorCtr="0" compatLnSpc="1">
            <a:prstTxWarp prst="textNoShape">
              <a:avLst/>
            </a:prstTxWarp>
          </a:bodyPr>
          <a:lstStyle/>
          <a:p>
            <a:pPr marL="0" marR="0" lvl="0" indent="0" algn="ctr" defTabSz="776609" rtl="0" eaLnBrk="1" fontAlgn="auto" latinLnBrk="0" hangingPunct="1">
              <a:lnSpc>
                <a:spcPct val="100000"/>
              </a:lnSpc>
              <a:spcBef>
                <a:spcPts val="0"/>
              </a:spcBef>
              <a:spcAft>
                <a:spcPts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935851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74638" y="1211263"/>
            <a:ext cx="4572000" cy="4572000"/>
          </a:xfrm>
          <a:prstGeom prst="rect">
            <a:avLst/>
          </a:prstGeom>
          <a:solidFill>
            <a:schemeClr val="accent2">
              <a:alpha val="90588"/>
            </a:schemeClr>
          </a:solidFill>
        </p:spPr>
        <p:txBody>
          <a:bodyPr lIns="146304" tIns="91440" rIns="146304" bIns="91440">
            <a:noAutofit/>
          </a:bodyPr>
          <a:lstStyle>
            <a:lvl1pPr marL="0" indent="0" algn="l">
              <a:buNone/>
              <a:defRPr lang="en-US" sz="4799" kern="1200" spc="0" baseline="0" dirty="0" smtClean="0">
                <a:solidFill>
                  <a:schemeClr val="bg1"/>
                </a:solidFill>
                <a:latin typeface="+mj-lt"/>
                <a:ea typeface="+mn-ea"/>
                <a:cs typeface="+mn-cs"/>
              </a:defRPr>
            </a:lvl1pPr>
            <a:lvl2pPr marL="342802" indent="0" algn="l">
              <a:buNone/>
              <a:defRPr sz="4799"/>
            </a:lvl2pPr>
            <a:lvl3pPr marL="571335" indent="0" algn="l">
              <a:buNone/>
              <a:defRPr sz="4799"/>
            </a:lvl3pPr>
            <a:lvl4pPr marL="799868" indent="0" algn="l">
              <a:buNone/>
              <a:defRPr sz="4799"/>
            </a:lvl4pPr>
            <a:lvl5pPr marL="1028401" indent="0" algn="l">
              <a:buNone/>
              <a:defRPr sz="4799"/>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2503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1"/>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6" y="3628284"/>
            <a:ext cx="2249424" cy="2249424"/>
          </a:xfrm>
          <a:solidFill>
            <a:schemeClr val="accent3"/>
          </a:solidFill>
        </p:spPr>
        <p:txBody>
          <a:bodyPr/>
          <a:lstStyle>
            <a:lvl1pPr marL="0" indent="0">
              <a:lnSpc>
                <a:spcPts val="3699"/>
              </a:lnSpc>
              <a:spcBef>
                <a:spcPts val="0"/>
              </a:spcBef>
              <a:buNone/>
              <a:defRPr sz="3199">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
        <p:nvSpPr>
          <p:cNvPr id="21" name="Text Placeholder 5"/>
          <p:cNvSpPr>
            <a:spLocks noGrp="1"/>
          </p:cNvSpPr>
          <p:nvPr>
            <p:ph type="body" sz="quarter" idx="16" hasCustomPrompt="1"/>
          </p:nvPr>
        </p:nvSpPr>
        <p:spPr>
          <a:xfrm>
            <a:off x="9418639" y="723012"/>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04" indent="0">
              <a:buNone/>
              <a:defRPr sz="3199"/>
            </a:lvl2pPr>
            <a:lvl3pPr marL="571340" indent="0">
              <a:buNone/>
              <a:defRPr sz="3199"/>
            </a:lvl3pPr>
            <a:lvl4pPr marL="799876" indent="0">
              <a:buNone/>
              <a:defRPr sz="3199"/>
            </a:lvl4pPr>
            <a:lvl5pPr marL="1028412" indent="0">
              <a:buNone/>
              <a:defRPr sz="3199"/>
            </a:lvl5pPr>
          </a:lstStyle>
          <a:p>
            <a:pPr lvl="0"/>
            <a:r>
              <a:rPr lang="en-US" smtClean="0"/>
              <a:t> </a:t>
            </a:r>
            <a:endParaRPr lang="en-US"/>
          </a:p>
        </p:txBody>
      </p:sp>
    </p:spTree>
    <p:extLst>
      <p:ext uri="{BB962C8B-B14F-4D97-AF65-F5344CB8AC3E}">
        <p14:creationId xmlns:p14="http://schemas.microsoft.com/office/powerpoint/2010/main" val="3325543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757870597"/>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54480170"/>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64964"/>
            <a:ext cx="9143999" cy="3384866"/>
          </a:xfrm>
        </p:spPr>
        <p:txBody>
          <a:bodyPr lIns="146304" tIns="91440" rIns="146304" bIns="91440"/>
          <a:lstStyle>
            <a:lvl1pPr>
              <a:lnSpc>
                <a:spcPts val="6298"/>
              </a:lnSpc>
              <a:defRPr sz="5798"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597"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9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0"/>
              </a:lnSpc>
              <a:spcBef>
                <a:spcPts val="1199"/>
              </a:spcBef>
              <a:buNone/>
              <a:defRPr sz="1599" baseline="0">
                <a:solidFill>
                  <a:schemeClr val="bg1"/>
                </a:solidFill>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80240514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84" Type="http://schemas.openxmlformats.org/officeDocument/2006/relationships/slideLayout" Target="../slideLayouts/slideLayout112.xml"/><Relationship Id="rId89" Type="http://schemas.openxmlformats.org/officeDocument/2006/relationships/slideLayout" Target="../slideLayouts/slideLayout117.xml"/><Relationship Id="rId16" Type="http://schemas.openxmlformats.org/officeDocument/2006/relationships/slideLayout" Target="../slideLayouts/slideLayout44.xml"/><Relationship Id="rId11" Type="http://schemas.openxmlformats.org/officeDocument/2006/relationships/slideLayout" Target="../slideLayouts/slideLayout39.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74" Type="http://schemas.openxmlformats.org/officeDocument/2006/relationships/slideLayout" Target="../slideLayouts/slideLayout102.xml"/><Relationship Id="rId79" Type="http://schemas.openxmlformats.org/officeDocument/2006/relationships/slideLayout" Target="../slideLayouts/slideLayout107.xml"/><Relationship Id="rId5" Type="http://schemas.openxmlformats.org/officeDocument/2006/relationships/slideLayout" Target="../slideLayouts/slideLayout33.xml"/><Relationship Id="rId90" Type="http://schemas.openxmlformats.org/officeDocument/2006/relationships/slideLayout" Target="../slideLayouts/slideLayout118.xml"/><Relationship Id="rId95" Type="http://schemas.openxmlformats.org/officeDocument/2006/relationships/slideLayout" Target="../slideLayouts/slideLayout123.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80" Type="http://schemas.openxmlformats.org/officeDocument/2006/relationships/slideLayout" Target="../slideLayouts/slideLayout108.xml"/><Relationship Id="rId85" Type="http://schemas.openxmlformats.org/officeDocument/2006/relationships/slideLayout" Target="../slideLayouts/slideLayout113.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75" Type="http://schemas.openxmlformats.org/officeDocument/2006/relationships/slideLayout" Target="../slideLayouts/slideLayout103.xml"/><Relationship Id="rId83" Type="http://schemas.openxmlformats.org/officeDocument/2006/relationships/slideLayout" Target="../slideLayouts/slideLayout111.xml"/><Relationship Id="rId88" Type="http://schemas.openxmlformats.org/officeDocument/2006/relationships/slideLayout" Target="../slideLayouts/slideLayout116.xml"/><Relationship Id="rId91" Type="http://schemas.openxmlformats.org/officeDocument/2006/relationships/slideLayout" Target="../slideLayouts/slideLayout119.xml"/><Relationship Id="rId96" Type="http://schemas.openxmlformats.org/officeDocument/2006/relationships/slideLayout" Target="../slideLayouts/slideLayout12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slideLayout" Target="../slideLayouts/slideLayout101.xml"/><Relationship Id="rId78" Type="http://schemas.openxmlformats.org/officeDocument/2006/relationships/slideLayout" Target="../slideLayouts/slideLayout106.xml"/><Relationship Id="rId81" Type="http://schemas.openxmlformats.org/officeDocument/2006/relationships/slideLayout" Target="../slideLayouts/slideLayout109.xml"/><Relationship Id="rId86" Type="http://schemas.openxmlformats.org/officeDocument/2006/relationships/slideLayout" Target="../slideLayouts/slideLayout114.xml"/><Relationship Id="rId94" Type="http://schemas.openxmlformats.org/officeDocument/2006/relationships/slideLayout" Target="../slideLayouts/slideLayout122.xml"/><Relationship Id="rId99" Type="http://schemas.openxmlformats.org/officeDocument/2006/relationships/slideLayout" Target="../slideLayouts/slideLayout127.xml"/><Relationship Id="rId101"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6" Type="http://schemas.openxmlformats.org/officeDocument/2006/relationships/slideLayout" Target="../slideLayouts/slideLayout104.xml"/><Relationship Id="rId97" Type="http://schemas.openxmlformats.org/officeDocument/2006/relationships/slideLayout" Target="../slideLayouts/slideLayout125.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92" Type="http://schemas.openxmlformats.org/officeDocument/2006/relationships/slideLayout" Target="../slideLayouts/slideLayout120.xml"/><Relationship Id="rId2" Type="http://schemas.openxmlformats.org/officeDocument/2006/relationships/slideLayout" Target="../slideLayouts/slideLayout30.xml"/><Relationship Id="rId29" Type="http://schemas.openxmlformats.org/officeDocument/2006/relationships/slideLayout" Target="../slideLayouts/slideLayout57.xml"/><Relationship Id="rId24" Type="http://schemas.openxmlformats.org/officeDocument/2006/relationships/slideLayout" Target="../slideLayouts/slideLayout52.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66" Type="http://schemas.openxmlformats.org/officeDocument/2006/relationships/slideLayout" Target="../slideLayouts/slideLayout94.xml"/><Relationship Id="rId87" Type="http://schemas.openxmlformats.org/officeDocument/2006/relationships/slideLayout" Target="../slideLayouts/slideLayout115.xml"/><Relationship Id="rId61" Type="http://schemas.openxmlformats.org/officeDocument/2006/relationships/slideLayout" Target="../slideLayouts/slideLayout89.xml"/><Relationship Id="rId82" Type="http://schemas.openxmlformats.org/officeDocument/2006/relationships/slideLayout" Target="../slideLayouts/slideLayout110.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56" Type="http://schemas.openxmlformats.org/officeDocument/2006/relationships/slideLayout" Target="../slideLayouts/slideLayout84.xml"/><Relationship Id="rId77" Type="http://schemas.openxmlformats.org/officeDocument/2006/relationships/slideLayout" Target="../slideLayouts/slideLayout105.xml"/><Relationship Id="rId100" Type="http://schemas.openxmlformats.org/officeDocument/2006/relationships/slideLayout" Target="../slideLayouts/slideLayout128.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93" Type="http://schemas.openxmlformats.org/officeDocument/2006/relationships/slideLayout" Target="../slideLayouts/slideLayout121.xml"/><Relationship Id="rId98" Type="http://schemas.openxmlformats.org/officeDocument/2006/relationships/slideLayout" Target="../slideLayouts/slideLayout126.xml"/><Relationship Id="rId3"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312" r:id="rId28"/>
  </p:sldLayoutIdLst>
  <p:transition>
    <p:fade/>
  </p:transition>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smtClean="0">
                <a:ln>
                  <a:noFill/>
                </a:ln>
                <a:solidFill>
                  <a:srgbClr val="505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57636029"/>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 id="2147484253" r:id="rId43"/>
    <p:sldLayoutId id="2147484254" r:id="rId44"/>
    <p:sldLayoutId id="2147484255" r:id="rId45"/>
    <p:sldLayoutId id="2147484256" r:id="rId46"/>
    <p:sldLayoutId id="2147484257" r:id="rId47"/>
    <p:sldLayoutId id="2147484258" r:id="rId48"/>
    <p:sldLayoutId id="2147484259" r:id="rId49"/>
    <p:sldLayoutId id="2147484260" r:id="rId50"/>
    <p:sldLayoutId id="2147484261" r:id="rId51"/>
    <p:sldLayoutId id="2147484262" r:id="rId52"/>
    <p:sldLayoutId id="2147484263" r:id="rId53"/>
    <p:sldLayoutId id="2147484264" r:id="rId54"/>
    <p:sldLayoutId id="2147484265" r:id="rId55"/>
    <p:sldLayoutId id="2147484266" r:id="rId56"/>
    <p:sldLayoutId id="2147484267" r:id="rId57"/>
    <p:sldLayoutId id="2147484268" r:id="rId58"/>
    <p:sldLayoutId id="2147484269" r:id="rId59"/>
    <p:sldLayoutId id="2147484270" r:id="rId60"/>
    <p:sldLayoutId id="2147484271" r:id="rId61"/>
    <p:sldLayoutId id="2147484272" r:id="rId62"/>
    <p:sldLayoutId id="2147484273" r:id="rId63"/>
    <p:sldLayoutId id="2147484274" r:id="rId64"/>
    <p:sldLayoutId id="2147484275" r:id="rId65"/>
    <p:sldLayoutId id="2147484276" r:id="rId66"/>
    <p:sldLayoutId id="2147484277" r:id="rId67"/>
    <p:sldLayoutId id="2147484278" r:id="rId68"/>
    <p:sldLayoutId id="2147484279" r:id="rId69"/>
    <p:sldLayoutId id="2147484280" r:id="rId70"/>
    <p:sldLayoutId id="2147484281" r:id="rId71"/>
    <p:sldLayoutId id="2147484282" r:id="rId72"/>
    <p:sldLayoutId id="2147484283" r:id="rId73"/>
    <p:sldLayoutId id="2147484284" r:id="rId74"/>
    <p:sldLayoutId id="2147484285" r:id="rId75"/>
    <p:sldLayoutId id="2147484286" r:id="rId76"/>
    <p:sldLayoutId id="2147484287" r:id="rId77"/>
    <p:sldLayoutId id="2147484288" r:id="rId78"/>
    <p:sldLayoutId id="2147484289" r:id="rId79"/>
    <p:sldLayoutId id="2147484290" r:id="rId80"/>
    <p:sldLayoutId id="2147484291" r:id="rId81"/>
    <p:sldLayoutId id="2147484292" r:id="rId82"/>
    <p:sldLayoutId id="2147484293" r:id="rId83"/>
    <p:sldLayoutId id="2147484294" r:id="rId84"/>
    <p:sldLayoutId id="2147484295" r:id="rId85"/>
    <p:sldLayoutId id="2147484296" r:id="rId86"/>
    <p:sldLayoutId id="2147484297" r:id="rId87"/>
    <p:sldLayoutId id="2147484298" r:id="rId88"/>
    <p:sldLayoutId id="2147484299" r:id="rId89"/>
    <p:sldLayoutId id="2147484300" r:id="rId90"/>
    <p:sldLayoutId id="2147484301" r:id="rId91"/>
    <p:sldLayoutId id="2147484302" r:id="rId92"/>
    <p:sldLayoutId id="2147484303" r:id="rId93"/>
    <p:sldLayoutId id="2147484304" r:id="rId94"/>
    <p:sldLayoutId id="2147484305" r:id="rId95"/>
    <p:sldLayoutId id="2147484306" r:id="rId96"/>
    <p:sldLayoutId id="2147484307" r:id="rId97"/>
    <p:sldLayoutId id="2147484309" r:id="rId98"/>
    <p:sldLayoutId id="2147484310" r:id="rId99"/>
    <p:sldLayoutId id="2147484311" r:id="rId100"/>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4800" b="0" kern="1200" cap="none" spc="-102" baseline="0" dirty="0" smtClean="0">
          <a:ln w="3175">
            <a:noFill/>
          </a:ln>
          <a:solidFill>
            <a:srgbClr val="0072C6"/>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3" Type="http://schemas.openxmlformats.org/officeDocument/2006/relationships/hyperlink" Target="https://azure.microsoft.com/services/storage/files/" TargetMode="External"/><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31.jpg"/></Relationships>
</file>

<file path=ppt/slides/_rels/slide12.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8.xml"/><Relationship Id="rId1" Type="http://schemas.openxmlformats.org/officeDocument/2006/relationships/slideLayout" Target="../slideLayouts/slideLayout36.xml"/><Relationship Id="rId5" Type="http://schemas.openxmlformats.org/officeDocument/2006/relationships/image" Target="../media/image34.gif"/><Relationship Id="rId4" Type="http://schemas.openxmlformats.org/officeDocument/2006/relationships/image" Target="../media/image33.gi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xml"/><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hyperlink" Target="https://azure.microsoft.com/en-us/documentation/articles/virtual-machines-sql-server-alwayson-availability-groups-gui/" TargetMode="External"/><Relationship Id="rId5" Type="http://schemas.openxmlformats.org/officeDocument/2006/relationships/hyperlink" Target="https://azure.microsoft.com/en-us/documentation/articles/vpn-gateway-site-to-site-create/" TargetMode="Externa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27.xml"/></Relationships>
</file>

<file path=ppt/slides/_rels/slide8.xml.rels><?xml version="1.0" encoding="UTF-8" standalone="yes"?>
<Relationships xmlns="http://schemas.openxmlformats.org/package/2006/relationships"><Relationship Id="rId3" Type="http://schemas.openxmlformats.org/officeDocument/2006/relationships/hyperlink" Target="http://msdn.microsoft.com/en-us/library/dn636917.aspx" TargetMode="External"/><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2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7.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01168" y="3886200"/>
            <a:ext cx="8436348" cy="914400"/>
          </a:xfrm>
        </p:spPr>
        <p:txBody>
          <a:bodyPr/>
          <a:lstStyle/>
          <a:p>
            <a:endParaRPr lang="en-US" dirty="0"/>
          </a:p>
        </p:txBody>
      </p:sp>
      <p:sp>
        <p:nvSpPr>
          <p:cNvPr id="4" name="Title 3"/>
          <p:cNvSpPr>
            <a:spLocks noGrp="1"/>
          </p:cNvSpPr>
          <p:nvPr>
            <p:ph type="title"/>
          </p:nvPr>
        </p:nvSpPr>
        <p:spPr>
          <a:xfrm>
            <a:off x="201168" y="2359152"/>
            <a:ext cx="8436348" cy="1097280"/>
          </a:xfrm>
        </p:spPr>
        <p:txBody>
          <a:bodyPr/>
          <a:lstStyle/>
          <a:p>
            <a:r>
              <a:rPr lang="en-US" sz="4800" dirty="0" smtClean="0"/>
              <a:t>Design and Implement </a:t>
            </a:r>
            <a:br>
              <a:rPr lang="en-US" sz="4800" dirty="0" smtClean="0"/>
            </a:br>
            <a:r>
              <a:rPr lang="en-US" sz="4800" dirty="0" smtClean="0"/>
              <a:t>Cloud Data Platform Solutions</a:t>
            </a:r>
            <a:endParaRPr lang="en-US" sz="3600" dirty="0"/>
          </a:p>
        </p:txBody>
      </p:sp>
    </p:spTree>
    <p:extLst>
      <p:ext uri="{BB962C8B-B14F-4D97-AF65-F5344CB8AC3E}">
        <p14:creationId xmlns:p14="http://schemas.microsoft.com/office/powerpoint/2010/main" val="2485714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err="1" smtClean="0"/>
              <a:t>AlwaysOn</a:t>
            </a:r>
            <a:r>
              <a:rPr lang="en-US" sz="2400" dirty="0" smtClean="0"/>
              <a:t> Availability Groups on Azure</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252551078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dirty="0" err="1" smtClean="0"/>
              <a:t>AlwaysOn</a:t>
            </a:r>
            <a:r>
              <a:rPr lang="en-US" dirty="0" smtClean="0"/>
              <a:t> Failover Clustering</a:t>
            </a:r>
            <a:endParaRPr lang="en-US" dirty="0"/>
          </a:p>
        </p:txBody>
      </p:sp>
      <p:sp>
        <p:nvSpPr>
          <p:cNvPr id="4" name="Rectangle 3"/>
          <p:cNvSpPr/>
          <p:nvPr/>
        </p:nvSpPr>
        <p:spPr bwMode="auto">
          <a:xfrm>
            <a:off x="122237" y="1294657"/>
            <a:ext cx="11201400" cy="509820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a:xfrm>
            <a:off x="6675437" y="4030662"/>
            <a:ext cx="4343400" cy="2123658"/>
          </a:xfrm>
          <a:prstGeom prst="rect">
            <a:avLst/>
          </a:prstGeom>
        </p:spPr>
        <p:txBody>
          <a:bodyPr wrap="square">
            <a:spAutoFit/>
          </a:bodyPr>
          <a:lstStyle/>
          <a:p>
            <a:r>
              <a:rPr lang="en-US" sz="1100" dirty="0"/>
              <a:t>An FCI on a two-node WSFC running in Azure VMs with remote iSCSI Target shared block storage via ExpressRoute. For example, NetApp Private Storage (NPS) exposes an iSCSI target via ExpressRoute with </a:t>
            </a:r>
            <a:r>
              <a:rPr lang="en-US" sz="1100" dirty="0" err="1"/>
              <a:t>Equinix</a:t>
            </a:r>
            <a:r>
              <a:rPr lang="en-US" sz="1100" dirty="0"/>
              <a:t> to Azure VMs.</a:t>
            </a:r>
            <a:br>
              <a:rPr lang="en-US" sz="1100" dirty="0"/>
            </a:br>
            <a:r>
              <a:rPr lang="en-US" sz="1100" dirty="0"/>
              <a:t/>
            </a:r>
            <a:br>
              <a:rPr lang="en-US" sz="1100" dirty="0"/>
            </a:br>
            <a:r>
              <a:rPr lang="en-US" sz="1100" dirty="0"/>
              <a:t>For third-party shared storage and data replication solutions, you should contact the vendor for any issues related to accessing data on failover.</a:t>
            </a:r>
            <a:br>
              <a:rPr lang="en-US" sz="1100" dirty="0"/>
            </a:br>
            <a:r>
              <a:rPr lang="en-US" sz="1100" dirty="0"/>
              <a:t/>
            </a:r>
            <a:br>
              <a:rPr lang="en-US" sz="1100" dirty="0"/>
            </a:br>
            <a:r>
              <a:rPr lang="en-US" sz="1100" dirty="0"/>
              <a:t>Note that using FCI on top of </a:t>
            </a:r>
            <a:r>
              <a:rPr lang="en-US" sz="1100" dirty="0">
                <a:hlinkClick r:id="rId3"/>
              </a:rPr>
              <a:t>Azure File storage</a:t>
            </a:r>
            <a:r>
              <a:rPr lang="en-US" sz="1100" dirty="0"/>
              <a:t> is not supported yet, because this solution does not utilize Premium Storage. We are working to support this soon.</a:t>
            </a:r>
          </a:p>
        </p:txBody>
      </p:sp>
      <p:sp>
        <p:nvSpPr>
          <p:cNvPr id="11" name="Rectangle 10"/>
          <p:cNvSpPr/>
          <p:nvPr/>
        </p:nvSpPr>
        <p:spPr bwMode="auto">
          <a:xfrm>
            <a:off x="296925" y="1585777"/>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Always On Failover Clustering</a:t>
            </a:r>
          </a:p>
        </p:txBody>
      </p:sp>
      <p:sp>
        <p:nvSpPr>
          <p:cNvPr id="16" name="TextBox 15"/>
          <p:cNvSpPr txBox="1"/>
          <p:nvPr/>
        </p:nvSpPr>
        <p:spPr>
          <a:xfrm>
            <a:off x="303485" y="2427648"/>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HA only, not DR </a:t>
            </a:r>
            <a:br>
              <a:rPr lang="en-US" sz="1200" b="1" dirty="0" smtClean="0"/>
            </a:br>
            <a:r>
              <a:rPr lang="en-US" sz="1200" dirty="0" smtClean="0"/>
              <a:t>FCI </a:t>
            </a:r>
            <a:r>
              <a:rPr lang="en-US" sz="1200" dirty="0"/>
              <a:t>on a two-node WSFC running in Azure VMs with storage supported by a third-party clustering </a:t>
            </a:r>
            <a:r>
              <a:rPr lang="en-US" sz="1200" dirty="0" smtClean="0"/>
              <a:t>solution.</a:t>
            </a:r>
          </a:p>
          <a:p>
            <a:pPr>
              <a:lnSpc>
                <a:spcPct val="90000"/>
              </a:lnSpc>
              <a:spcAft>
                <a:spcPts val="600"/>
              </a:spcAft>
            </a:pPr>
            <a:endParaRPr lang="en-US" sz="1200" dirty="0"/>
          </a:p>
          <a:p>
            <a:pPr>
              <a:lnSpc>
                <a:spcPct val="90000"/>
              </a:lnSpc>
              <a:spcAft>
                <a:spcPts val="600"/>
              </a:spcAft>
            </a:pPr>
            <a:r>
              <a:rPr lang="en-US" sz="1200" dirty="0"/>
              <a:t>FCI on a two-node WSFC running in Azure VMs with remote iSCSI Target shared block storage via </a:t>
            </a:r>
            <a:r>
              <a:rPr lang="en-US" sz="1200" dirty="0" smtClean="0"/>
              <a:t>ExpressRoute.</a:t>
            </a:r>
            <a:endParaRPr lang="en-US" sz="1200" dirty="0"/>
          </a:p>
          <a:p>
            <a:pPr>
              <a:lnSpc>
                <a:spcPct val="90000"/>
              </a:lnSpc>
              <a:spcAft>
                <a:spcPts val="600"/>
              </a:spcAft>
            </a:pPr>
            <a:endParaRPr lang="en-US" sz="1200" dirty="0" smtClean="0">
              <a:gradFill>
                <a:gsLst>
                  <a:gs pos="2917">
                    <a:schemeClr val="tx1"/>
                  </a:gs>
                  <a:gs pos="30000">
                    <a:schemeClr val="tx1"/>
                  </a:gs>
                </a:gsLst>
                <a:lin ang="5400000" scaled="0"/>
              </a:gra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4437" y="1946204"/>
            <a:ext cx="2949893" cy="1929520"/>
          </a:xfrm>
          <a:prstGeom prst="rect">
            <a:avLst/>
          </a:prstGeom>
        </p:spPr>
      </p:pic>
      <p:sp>
        <p:nvSpPr>
          <p:cNvPr id="6" name="Rectangle 5"/>
          <p:cNvSpPr/>
          <p:nvPr/>
        </p:nvSpPr>
        <p:spPr>
          <a:xfrm>
            <a:off x="2484437" y="3974505"/>
            <a:ext cx="2895600" cy="577081"/>
          </a:xfrm>
          <a:prstGeom prst="rect">
            <a:avLst/>
          </a:prstGeom>
        </p:spPr>
        <p:txBody>
          <a:bodyPr wrap="square">
            <a:spAutoFit/>
          </a:bodyPr>
          <a:lstStyle/>
          <a:p>
            <a:r>
              <a:rPr lang="en-US" sz="1050" dirty="0"/>
              <a:t>FCI on a two-node WSFC running in Azure VMs with storage supported by a third-party clustering </a:t>
            </a:r>
            <a:r>
              <a:rPr lang="en-US" sz="1050" dirty="0" smtClean="0"/>
              <a:t>solution.</a:t>
            </a:r>
            <a:endParaRPr lang="en-US" sz="1050" dirty="0"/>
          </a:p>
        </p:txBody>
      </p:sp>
    </p:spTree>
    <p:extLst>
      <p:ext uri="{BB962C8B-B14F-4D97-AF65-F5344CB8AC3E}">
        <p14:creationId xmlns:p14="http://schemas.microsoft.com/office/powerpoint/2010/main" val="314626293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dirty="0" smtClean="0"/>
              <a:t>Database Mirroring</a:t>
            </a:r>
            <a:endParaRPr lang="en-US" dirty="0"/>
          </a:p>
        </p:txBody>
      </p:sp>
      <p:sp>
        <p:nvSpPr>
          <p:cNvPr id="4" name="Rectangle 3"/>
          <p:cNvSpPr/>
          <p:nvPr/>
        </p:nvSpPr>
        <p:spPr bwMode="auto">
          <a:xfrm>
            <a:off x="122237" y="1294657"/>
            <a:ext cx="12192000" cy="509820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294194"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Database Mirroring</a:t>
            </a:r>
          </a:p>
        </p:txBody>
      </p:sp>
      <p:sp>
        <p:nvSpPr>
          <p:cNvPr id="12" name="TextBox 11"/>
          <p:cNvSpPr txBox="1"/>
          <p:nvPr/>
        </p:nvSpPr>
        <p:spPr>
          <a:xfrm>
            <a:off x="302495"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Azure Only</a:t>
            </a:r>
            <a:r>
              <a:rPr lang="en-US" sz="1200" dirty="0" smtClean="0"/>
              <a:t/>
            </a:r>
            <a:br>
              <a:rPr lang="en-US" sz="1200" dirty="0" smtClean="0"/>
            </a:br>
            <a:r>
              <a:rPr lang="en-US" sz="1200" dirty="0" smtClean="0"/>
              <a:t>Principal </a:t>
            </a:r>
            <a:r>
              <a:rPr lang="en-US" sz="1200" dirty="0"/>
              <a:t>and mirror and servers running in different datacenters for disaster recovery. </a:t>
            </a:r>
            <a:endParaRPr lang="en-US" sz="1200" dirty="0" smtClean="0"/>
          </a:p>
          <a:p>
            <a:pPr>
              <a:lnSpc>
                <a:spcPct val="90000"/>
              </a:lnSpc>
              <a:spcAft>
                <a:spcPts val="600"/>
              </a:spcAft>
            </a:pPr>
            <a:r>
              <a:rPr lang="en-US" sz="1200" dirty="0" smtClean="0">
                <a:gradFill>
                  <a:gsLst>
                    <a:gs pos="2917">
                      <a:schemeClr val="tx1"/>
                    </a:gs>
                    <a:gs pos="30000">
                      <a:schemeClr val="tx1"/>
                    </a:gs>
                  </a:gsLst>
                  <a:lin ang="5400000" scaled="0"/>
                </a:gradFill>
              </a:rPr>
              <a:t>Principal, Mirror, and Witness run within same Azure data center, deployed using a DC or server certificates for HA.</a:t>
            </a:r>
          </a:p>
          <a:p>
            <a:pPr>
              <a:lnSpc>
                <a:spcPct val="90000"/>
              </a:lnSpc>
              <a:spcAft>
                <a:spcPts val="600"/>
              </a:spcAft>
            </a:pPr>
            <a:r>
              <a:rPr lang="en-US" sz="1200" b="1" dirty="0" smtClean="0">
                <a:gradFill>
                  <a:gsLst>
                    <a:gs pos="2917">
                      <a:schemeClr val="tx1"/>
                    </a:gs>
                    <a:gs pos="30000">
                      <a:schemeClr val="tx1"/>
                    </a:gs>
                  </a:gsLst>
                  <a:lin ang="5400000" scaled="0"/>
                </a:gradFill>
              </a:rPr>
              <a:t>Hybrid</a:t>
            </a:r>
            <a:r>
              <a:rPr lang="en-US" sz="1200" dirty="0" smtClean="0">
                <a:gradFill>
                  <a:gsLst>
                    <a:gs pos="2917">
                      <a:schemeClr val="tx1"/>
                    </a:gs>
                    <a:gs pos="30000">
                      <a:schemeClr val="tx1"/>
                    </a:gs>
                  </a:gsLst>
                  <a:lin ang="5400000" scaled="0"/>
                </a:gradFill>
              </a:rPr>
              <a:t/>
            </a:r>
            <a:br>
              <a:rPr lang="en-US" sz="1200" dirty="0" smtClean="0">
                <a:gradFill>
                  <a:gsLst>
                    <a:gs pos="2917">
                      <a:schemeClr val="tx1"/>
                    </a:gs>
                    <a:gs pos="30000">
                      <a:schemeClr val="tx1"/>
                    </a:gs>
                  </a:gsLst>
                  <a:lin ang="5400000" scaled="0"/>
                </a:gradFill>
              </a:rPr>
            </a:br>
            <a:r>
              <a:rPr lang="en-US" sz="1200" dirty="0"/>
              <a:t>One partner running in an Azure VM and the other running on-premises for cross-site disaster recovery using server certificates. </a:t>
            </a:r>
            <a:endParaRPr lang="en-US" sz="1200" dirty="0">
              <a:gradFill>
                <a:gsLst>
                  <a:gs pos="2917">
                    <a:schemeClr val="tx1"/>
                  </a:gs>
                  <a:gs pos="30000">
                    <a:schemeClr val="tx1"/>
                  </a:gs>
                </a:gsLst>
                <a:lin ang="5400000" scaled="0"/>
              </a:gradFill>
            </a:endParaRPr>
          </a:p>
        </p:txBody>
      </p:sp>
      <p:sp>
        <p:nvSpPr>
          <p:cNvPr id="2" name="Rectangle 1"/>
          <p:cNvSpPr/>
          <p:nvPr/>
        </p:nvSpPr>
        <p:spPr>
          <a:xfrm>
            <a:off x="7056437" y="4586980"/>
            <a:ext cx="3352800" cy="938719"/>
          </a:xfrm>
          <a:prstGeom prst="rect">
            <a:avLst/>
          </a:prstGeom>
        </p:spPr>
        <p:txBody>
          <a:bodyPr wrap="square">
            <a:spAutoFit/>
          </a:bodyPr>
          <a:lstStyle/>
          <a:p>
            <a:r>
              <a:rPr lang="en-US" sz="1100" dirty="0"/>
              <a:t>Principal and mirror and servers running in different datacenters for disaster recovery. You must deploy using server certificates because an </a:t>
            </a:r>
            <a:r>
              <a:rPr lang="en-US" sz="1100" dirty="0" smtClean="0"/>
              <a:t>Active Directory domain </a:t>
            </a:r>
            <a:r>
              <a:rPr lang="en-US" sz="1100" dirty="0"/>
              <a:t>cannot span multiple datacent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7837" y="1820862"/>
            <a:ext cx="3857625" cy="2371725"/>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79270" y="1905782"/>
            <a:ext cx="3943350" cy="1866900"/>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74887" y="4104892"/>
            <a:ext cx="3943350" cy="1866900"/>
          </a:xfrm>
          <a:prstGeom prst="rect">
            <a:avLst/>
          </a:prstGeom>
        </p:spPr>
      </p:pic>
    </p:spTree>
    <p:extLst>
      <p:ext uri="{BB962C8B-B14F-4D97-AF65-F5344CB8AC3E}">
        <p14:creationId xmlns:p14="http://schemas.microsoft.com/office/powerpoint/2010/main" val="15726567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384854" y="2699496"/>
            <a:ext cx="2004583" cy="1538883"/>
          </a:xfrm>
          <a:prstGeom prst="rect">
            <a:avLst/>
          </a:prstGeom>
        </p:spPr>
        <p:txBody>
          <a:bodyPr wrap="square" lIns="182880" rIns="182880">
            <a:spAutoFit/>
          </a:bodyPr>
          <a:lstStyle/>
          <a:p>
            <a:pPr marR="0">
              <a:spcBef>
                <a:spcPts val="0"/>
              </a:spcBef>
              <a:spcAft>
                <a:spcPts val="1000"/>
              </a:spcAft>
            </a:pPr>
            <a:r>
              <a:rPr lang="en-US" sz="1400" dirty="0">
                <a:solidFill>
                  <a:srgbClr val="002060"/>
                </a:solidFill>
                <a:latin typeface="Segoe UI Light" panose="020B0502040204020203" pitchFamily="34" charset="0"/>
                <a:ea typeface="Times New Roman" panose="02020603050405020304" pitchFamily="18" charset="0"/>
                <a:cs typeface="Segoe UI Light" panose="020B0502040204020203" pitchFamily="34" charset="0"/>
              </a:rPr>
              <a:t>B</a:t>
            </a:r>
            <a:r>
              <a:rPr lang="en-US" sz="1400" dirty="0" smtClean="0">
                <a:solidFill>
                  <a:srgbClr val="002060"/>
                </a:solidFill>
                <a:latin typeface="Segoe UI Light" panose="020B0502040204020203" pitchFamily="34" charset="0"/>
                <a:ea typeface="Times New Roman" panose="02020603050405020304" pitchFamily="18" charset="0"/>
                <a:cs typeface="Segoe UI Light" panose="020B0502040204020203" pitchFamily="34" charset="0"/>
              </a:rPr>
              <a:t>lock blobs</a:t>
            </a:r>
            <a:endParaRPr lang="en-US" sz="1400" dirty="0">
              <a:solidFill>
                <a:srgbClr val="002060"/>
              </a:solidFill>
              <a:latin typeface="Segoe UI Light" panose="020B0502040204020203" pitchFamily="34" charset="0"/>
              <a:ea typeface="Times New Roman" panose="02020603050405020304" pitchFamily="18" charset="0"/>
              <a:cs typeface="Segoe UI Light" panose="020B0502040204020203" pitchFamily="34" charset="0"/>
            </a:endParaRPr>
          </a:p>
          <a:p>
            <a:pPr marR="0">
              <a:spcBef>
                <a:spcPts val="0"/>
              </a:spcBef>
              <a:spcAft>
                <a:spcPts val="1000"/>
              </a:spcAft>
            </a:pPr>
            <a:r>
              <a:rPr lang="en-US" sz="1100" dirty="0" smtClean="0">
                <a:latin typeface="Segoe UI" panose="020B0502040204020203" pitchFamily="34" charset="0"/>
                <a:ea typeface="Times New Roman" panose="02020603050405020304" pitchFamily="18" charset="0"/>
                <a:cs typeface="Segoe UI" panose="020B0502040204020203" pitchFamily="34" charset="0"/>
              </a:rPr>
              <a:t>Reduced storage costs</a:t>
            </a:r>
            <a:endParaRPr lang="en-US" sz="11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100" dirty="0" smtClean="0">
                <a:latin typeface="Segoe UI" panose="020B0502040204020203" pitchFamily="34" charset="0"/>
                <a:ea typeface="Times New Roman" panose="02020603050405020304" pitchFamily="18" charset="0"/>
                <a:cs typeface="Segoe UI" panose="020B0502040204020203" pitchFamily="34" charset="0"/>
              </a:rPr>
              <a:t>Significantly </a:t>
            </a:r>
            <a:r>
              <a:rPr lang="en-US" sz="1100" dirty="0">
                <a:latin typeface="Segoe UI" panose="020B0502040204020203" pitchFamily="34" charset="0"/>
                <a:ea typeface="Times New Roman" panose="02020603050405020304" pitchFamily="18" charset="0"/>
                <a:cs typeface="Segoe UI" panose="020B0502040204020203" pitchFamily="34" charset="0"/>
              </a:rPr>
              <a:t>improved restore </a:t>
            </a:r>
            <a:r>
              <a:rPr lang="en-US" sz="1100" dirty="0" smtClean="0">
                <a:latin typeface="Segoe UI" panose="020B0502040204020203" pitchFamily="34" charset="0"/>
                <a:ea typeface="Times New Roman" panose="02020603050405020304" pitchFamily="18" charset="0"/>
                <a:cs typeface="Segoe UI" panose="020B0502040204020203" pitchFamily="34" charset="0"/>
              </a:rPr>
              <a:t>performance</a:t>
            </a:r>
            <a:endParaRPr lang="en-US" sz="11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100" dirty="0">
                <a:latin typeface="Segoe UI" panose="020B0502040204020203" pitchFamily="34" charset="0"/>
                <a:ea typeface="Times New Roman" panose="02020603050405020304" pitchFamily="18" charset="0"/>
                <a:cs typeface="Segoe UI" panose="020B0502040204020203" pitchFamily="34" charset="0"/>
              </a:rPr>
              <a:t>More granular control over Azure S</a:t>
            </a:r>
            <a:r>
              <a:rPr lang="en-US" sz="1100" dirty="0" smtClean="0">
                <a:latin typeface="Segoe UI" panose="020B0502040204020203" pitchFamily="34" charset="0"/>
                <a:ea typeface="Times New Roman" panose="02020603050405020304" pitchFamily="18" charset="0"/>
                <a:cs typeface="Segoe UI" panose="020B0502040204020203" pitchFamily="34" charset="0"/>
              </a:rPr>
              <a:t>torage</a:t>
            </a:r>
            <a:endParaRPr lang="en-US" sz="1100" dirty="0">
              <a:latin typeface="Segoe UI" panose="020B0502040204020203" pitchFamily="34" charset="0"/>
              <a:ea typeface="Times New Roman" panose="02020603050405020304" pitchFamily="18" charset="0"/>
              <a:cs typeface="Segoe UI" panose="020B0502040204020203" pitchFamily="34" charset="0"/>
            </a:endParaRPr>
          </a:p>
        </p:txBody>
      </p:sp>
      <p:sp>
        <p:nvSpPr>
          <p:cNvPr id="19" name="Rectangle 18"/>
          <p:cNvSpPr/>
          <p:nvPr/>
        </p:nvSpPr>
        <p:spPr>
          <a:xfrm>
            <a:off x="5235378" y="2699496"/>
            <a:ext cx="2430659" cy="1456809"/>
          </a:xfrm>
          <a:prstGeom prst="rect">
            <a:avLst/>
          </a:prstGeom>
        </p:spPr>
        <p:txBody>
          <a:bodyPr wrap="square" lIns="182880" rIns="182880">
            <a:spAutoFit/>
          </a:bodyPr>
          <a:lstStyle/>
          <a:p>
            <a:pPr>
              <a:spcAft>
                <a:spcPts val="1000"/>
              </a:spcAft>
            </a:pPr>
            <a:r>
              <a:rPr lang="en-US" sz="1400" dirty="0">
                <a:solidFill>
                  <a:srgbClr val="002060"/>
                </a:solidFill>
                <a:latin typeface="Segoe UI Light" panose="020B0502040204020203" pitchFamily="34" charset="0"/>
                <a:ea typeface="Times New Roman" panose="02020603050405020304" pitchFamily="18" charset="0"/>
                <a:cs typeface="Segoe UI Light" panose="020B0502040204020203" pitchFamily="34" charset="0"/>
              </a:rPr>
              <a:t>Azure Storage snapshot backup</a:t>
            </a:r>
          </a:p>
          <a:p>
            <a:pPr marR="0">
              <a:spcBef>
                <a:spcPts val="0"/>
              </a:spcBef>
              <a:spcAft>
                <a:spcPts val="1000"/>
              </a:spcAft>
            </a:pPr>
            <a:r>
              <a:rPr lang="en-US" sz="1100" dirty="0">
                <a:latin typeface="Segoe UI" panose="020B0502040204020203" pitchFamily="34" charset="0"/>
                <a:ea typeface="Times New Roman" panose="02020603050405020304" pitchFamily="18" charset="0"/>
                <a:cs typeface="Segoe UI" panose="020B0502040204020203" pitchFamily="34" charset="0"/>
              </a:rPr>
              <a:t>Fastest method for creating backups and running restores</a:t>
            </a:r>
          </a:p>
          <a:p>
            <a:pPr marR="0">
              <a:spcBef>
                <a:spcPts val="0"/>
              </a:spcBef>
              <a:spcAft>
                <a:spcPts val="1000"/>
              </a:spcAft>
            </a:pPr>
            <a:r>
              <a:rPr lang="en-US" sz="1100" dirty="0" smtClean="0">
                <a:latin typeface="Segoe UI" panose="020B0502040204020203" pitchFamily="34" charset="0"/>
                <a:ea typeface="Times New Roman" panose="02020603050405020304" pitchFamily="18" charset="0"/>
                <a:cs typeface="Segoe UI" panose="020B0502040204020203" pitchFamily="34" charset="0"/>
              </a:rPr>
              <a:t>Support of SQL </a:t>
            </a:r>
            <a:r>
              <a:rPr lang="en-US" sz="1100" dirty="0">
                <a:latin typeface="Segoe UI" panose="020B0502040204020203" pitchFamily="34" charset="0"/>
                <a:ea typeface="Times New Roman" panose="02020603050405020304" pitchFamily="18" charset="0"/>
                <a:cs typeface="Segoe UI" panose="020B0502040204020203" pitchFamily="34" charset="0"/>
              </a:rPr>
              <a:t>Server </a:t>
            </a:r>
            <a:r>
              <a:rPr lang="en-US" sz="1100" dirty="0" smtClean="0">
                <a:latin typeface="Segoe UI" panose="020B0502040204020203" pitchFamily="34" charset="0"/>
                <a:ea typeface="Times New Roman" panose="02020603050405020304" pitchFamily="18" charset="0"/>
                <a:cs typeface="Segoe UI" panose="020B0502040204020203" pitchFamily="34" charset="0"/>
              </a:rPr>
              <a:t>database </a:t>
            </a:r>
            <a:r>
              <a:rPr lang="en-US" sz="1100" dirty="0">
                <a:latin typeface="Segoe UI" panose="020B0502040204020203" pitchFamily="34" charset="0"/>
                <a:ea typeface="Times New Roman" panose="02020603050405020304" pitchFamily="18" charset="0"/>
                <a:cs typeface="Segoe UI" panose="020B0502040204020203" pitchFamily="34" charset="0"/>
              </a:rPr>
              <a:t>files on Azure Blob </a:t>
            </a:r>
            <a:r>
              <a:rPr lang="en-US" sz="1100" dirty="0" smtClean="0">
                <a:latin typeface="Segoe UI" panose="020B0502040204020203" pitchFamily="34" charset="0"/>
                <a:ea typeface="Times New Roman" panose="02020603050405020304" pitchFamily="18" charset="0"/>
                <a:cs typeface="Segoe UI" panose="020B0502040204020203" pitchFamily="34" charset="0"/>
              </a:rPr>
              <a:t>Storage</a:t>
            </a:r>
          </a:p>
        </p:txBody>
      </p:sp>
      <p:grpSp>
        <p:nvGrpSpPr>
          <p:cNvPr id="41" name="Group 40"/>
          <p:cNvGrpSpPr/>
          <p:nvPr/>
        </p:nvGrpSpPr>
        <p:grpSpPr>
          <a:xfrm>
            <a:off x="2612379" y="1463040"/>
            <a:ext cx="1522456" cy="1056893"/>
            <a:chOff x="4627375" y="1549644"/>
            <a:chExt cx="2674174" cy="1685199"/>
          </a:xfrm>
        </p:grpSpPr>
        <p:sp>
          <p:nvSpPr>
            <p:cNvPr id="6" name="Freeform 15"/>
            <p:cNvSpPr>
              <a:spLocks/>
            </p:cNvSpPr>
            <p:nvPr/>
          </p:nvSpPr>
          <p:spPr bwMode="auto">
            <a:xfrm>
              <a:off x="6066613" y="1549644"/>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7" name="Freeform 23"/>
            <p:cNvSpPr>
              <a:spLocks/>
            </p:cNvSpPr>
            <p:nvPr/>
          </p:nvSpPr>
          <p:spPr bwMode="auto">
            <a:xfrm>
              <a:off x="4923995" y="1719198"/>
              <a:ext cx="422999" cy="228226"/>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nvGrpSpPr>
            <p:cNvPr id="3" name="Group 2"/>
            <p:cNvGrpSpPr/>
            <p:nvPr/>
          </p:nvGrpSpPr>
          <p:grpSpPr>
            <a:xfrm>
              <a:off x="4627375" y="1709648"/>
              <a:ext cx="2674174" cy="1525195"/>
              <a:chOff x="4627375" y="1709648"/>
              <a:chExt cx="2674174" cy="1525195"/>
            </a:xfrm>
          </p:grpSpPr>
          <p:sp>
            <p:nvSpPr>
              <p:cNvPr id="8" name="Freeform 19"/>
              <p:cNvSpPr>
                <a:spLocks/>
              </p:cNvSpPr>
              <p:nvPr/>
            </p:nvSpPr>
            <p:spPr bwMode="auto">
              <a:xfrm>
                <a:off x="4627375" y="1709648"/>
                <a:ext cx="2674174" cy="152519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2" name="Right Arrow 1"/>
              <p:cNvSpPr/>
              <p:nvPr/>
            </p:nvSpPr>
            <p:spPr bwMode="auto">
              <a:xfrm rot="16200000">
                <a:off x="5557392" y="2437320"/>
                <a:ext cx="814139" cy="403265"/>
              </a:xfrm>
              <a:prstGeom prst="right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1400" b="1" dirty="0" smtClean="0">
                  <a:solidFill>
                    <a:schemeClr val="bg1"/>
                  </a:solidFill>
                  <a:latin typeface="+mj-lt"/>
                  <a:ea typeface="Segoe UI" pitchFamily="34" charset="0"/>
                  <a:cs typeface="Segoe UI" pitchFamily="34" charset="0"/>
                </a:endParaRPr>
              </a:p>
            </p:txBody>
          </p:sp>
        </p:grpSp>
      </p:grpSp>
      <p:grpSp>
        <p:nvGrpSpPr>
          <p:cNvPr id="40" name="Group 39"/>
          <p:cNvGrpSpPr/>
          <p:nvPr/>
        </p:nvGrpSpPr>
        <p:grpSpPr>
          <a:xfrm>
            <a:off x="9496106" y="1463040"/>
            <a:ext cx="1381254" cy="1383226"/>
            <a:chOff x="632916" y="1660030"/>
            <a:chExt cx="2029541" cy="1844985"/>
          </a:xfrm>
        </p:grpSpPr>
        <p:sp>
          <p:nvSpPr>
            <p:cNvPr id="37" name="Freeform 36"/>
            <p:cNvSpPr>
              <a:spLocks/>
            </p:cNvSpPr>
            <p:nvPr/>
          </p:nvSpPr>
          <p:spPr bwMode="auto">
            <a:xfrm>
              <a:off x="632916" y="2279908"/>
              <a:ext cx="851333" cy="387088"/>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600" dirty="0">
                <a:solidFill>
                  <a:srgbClr val="000000"/>
                </a:solidFill>
              </a:endParaRPr>
            </a:p>
          </p:txBody>
        </p:sp>
        <p:grpSp>
          <p:nvGrpSpPr>
            <p:cNvPr id="39" name="Group 38"/>
            <p:cNvGrpSpPr/>
            <p:nvPr/>
          </p:nvGrpSpPr>
          <p:grpSpPr>
            <a:xfrm>
              <a:off x="1338897" y="1660030"/>
              <a:ext cx="731544" cy="1574813"/>
              <a:chOff x="1237933" y="1660030"/>
              <a:chExt cx="731544" cy="1574813"/>
            </a:xfrm>
          </p:grpSpPr>
          <p:grpSp>
            <p:nvGrpSpPr>
              <p:cNvPr id="26" name="Group 100"/>
              <p:cNvGrpSpPr>
                <a:grpSpLocks noChangeAspect="1"/>
              </p:cNvGrpSpPr>
              <p:nvPr/>
            </p:nvGrpSpPr>
            <p:grpSpPr bwMode="auto">
              <a:xfrm>
                <a:off x="1237933" y="1660030"/>
                <a:ext cx="731544" cy="1574813"/>
                <a:chOff x="2839" y="505"/>
                <a:chExt cx="275" cy="592"/>
              </a:xfrm>
            </p:grpSpPr>
            <p:sp>
              <p:nvSpPr>
                <p:cNvPr id="27" name="Freeform 106"/>
                <p:cNvSpPr>
                  <a:spLocks/>
                </p:cNvSpPr>
                <p:nvPr/>
              </p:nvSpPr>
              <p:spPr bwMode="auto">
                <a:xfrm>
                  <a:off x="2934" y="505"/>
                  <a:ext cx="84" cy="329"/>
                </a:xfrm>
                <a:custGeom>
                  <a:avLst/>
                  <a:gdLst>
                    <a:gd name="T0" fmla="*/ 69 w 84"/>
                    <a:gd name="T1" fmla="*/ 24 h 329"/>
                    <a:gd name="T2" fmla="*/ 69 w 84"/>
                    <a:gd name="T3" fmla="*/ 325 h 329"/>
                    <a:gd name="T4" fmla="*/ 54 w 84"/>
                    <a:gd name="T5" fmla="*/ 325 h 329"/>
                    <a:gd name="T6" fmla="*/ 54 w 84"/>
                    <a:gd name="T7" fmla="*/ 11 h 329"/>
                    <a:gd name="T8" fmla="*/ 40 w 84"/>
                    <a:gd name="T9" fmla="*/ 0 h 329"/>
                    <a:gd name="T10" fmla="*/ 40 w 84"/>
                    <a:gd name="T11" fmla="*/ 0 h 329"/>
                    <a:gd name="T12" fmla="*/ 13 w 84"/>
                    <a:gd name="T13" fmla="*/ 27 h 329"/>
                    <a:gd name="T14" fmla="*/ 13 w 84"/>
                    <a:gd name="T15" fmla="*/ 55 h 329"/>
                    <a:gd name="T16" fmla="*/ 0 w 84"/>
                    <a:gd name="T17" fmla="*/ 67 h 329"/>
                    <a:gd name="T18" fmla="*/ 0 w 84"/>
                    <a:gd name="T19" fmla="*/ 90 h 329"/>
                    <a:gd name="T20" fmla="*/ 26 w 84"/>
                    <a:gd name="T21" fmla="*/ 114 h 329"/>
                    <a:gd name="T22" fmla="*/ 26 w 84"/>
                    <a:gd name="T23" fmla="*/ 133 h 329"/>
                    <a:gd name="T24" fmla="*/ 14 w 84"/>
                    <a:gd name="T25" fmla="*/ 144 h 329"/>
                    <a:gd name="T26" fmla="*/ 14 w 84"/>
                    <a:gd name="T27" fmla="*/ 163 h 329"/>
                    <a:gd name="T28" fmla="*/ 0 w 84"/>
                    <a:gd name="T29" fmla="*/ 177 h 329"/>
                    <a:gd name="T30" fmla="*/ 0 w 84"/>
                    <a:gd name="T31" fmla="*/ 198 h 329"/>
                    <a:gd name="T32" fmla="*/ 24 w 84"/>
                    <a:gd name="T33" fmla="*/ 220 h 329"/>
                    <a:gd name="T34" fmla="*/ 24 w 84"/>
                    <a:gd name="T35" fmla="*/ 247 h 329"/>
                    <a:gd name="T36" fmla="*/ 0 w 84"/>
                    <a:gd name="T37" fmla="*/ 270 h 329"/>
                    <a:gd name="T38" fmla="*/ 0 w 84"/>
                    <a:gd name="T39" fmla="*/ 315 h 329"/>
                    <a:gd name="T40" fmla="*/ 0 w 84"/>
                    <a:gd name="T41" fmla="*/ 329 h 329"/>
                    <a:gd name="T42" fmla="*/ 84 w 84"/>
                    <a:gd name="T43" fmla="*/ 329 h 329"/>
                    <a:gd name="T44" fmla="*/ 84 w 84"/>
                    <a:gd name="T45" fmla="*/ 35 h 329"/>
                    <a:gd name="T46" fmla="*/ 69 w 84"/>
                    <a:gd name="T47" fmla="*/ 2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29">
                      <a:moveTo>
                        <a:pt x="69" y="24"/>
                      </a:moveTo>
                      <a:lnTo>
                        <a:pt x="69" y="325"/>
                      </a:lnTo>
                      <a:lnTo>
                        <a:pt x="54" y="325"/>
                      </a:lnTo>
                      <a:lnTo>
                        <a:pt x="54" y="11"/>
                      </a:lnTo>
                      <a:lnTo>
                        <a:pt x="40" y="0"/>
                      </a:lnTo>
                      <a:lnTo>
                        <a:pt x="40" y="0"/>
                      </a:lnTo>
                      <a:lnTo>
                        <a:pt x="13" y="27"/>
                      </a:lnTo>
                      <a:lnTo>
                        <a:pt x="13" y="55"/>
                      </a:lnTo>
                      <a:lnTo>
                        <a:pt x="0" y="67"/>
                      </a:lnTo>
                      <a:lnTo>
                        <a:pt x="0" y="90"/>
                      </a:lnTo>
                      <a:lnTo>
                        <a:pt x="26" y="114"/>
                      </a:lnTo>
                      <a:lnTo>
                        <a:pt x="26" y="133"/>
                      </a:lnTo>
                      <a:lnTo>
                        <a:pt x="14" y="144"/>
                      </a:lnTo>
                      <a:lnTo>
                        <a:pt x="14" y="163"/>
                      </a:lnTo>
                      <a:lnTo>
                        <a:pt x="0" y="177"/>
                      </a:lnTo>
                      <a:lnTo>
                        <a:pt x="0" y="198"/>
                      </a:lnTo>
                      <a:lnTo>
                        <a:pt x="24" y="220"/>
                      </a:lnTo>
                      <a:lnTo>
                        <a:pt x="24" y="247"/>
                      </a:lnTo>
                      <a:lnTo>
                        <a:pt x="0" y="270"/>
                      </a:lnTo>
                      <a:lnTo>
                        <a:pt x="0" y="315"/>
                      </a:lnTo>
                      <a:lnTo>
                        <a:pt x="0" y="329"/>
                      </a:lnTo>
                      <a:lnTo>
                        <a:pt x="84" y="329"/>
                      </a:lnTo>
                      <a:lnTo>
                        <a:pt x="84" y="35"/>
                      </a:lnTo>
                      <a:lnTo>
                        <a:pt x="69" y="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07"/>
                <p:cNvSpPr>
                  <a:spLocks/>
                </p:cNvSpPr>
                <p:nvPr/>
              </p:nvSpPr>
              <p:spPr bwMode="auto">
                <a:xfrm>
                  <a:off x="2988" y="516"/>
                  <a:ext cx="15" cy="314"/>
                </a:xfrm>
                <a:custGeom>
                  <a:avLst/>
                  <a:gdLst>
                    <a:gd name="T0" fmla="*/ 15 w 15"/>
                    <a:gd name="T1" fmla="*/ 314 h 314"/>
                    <a:gd name="T2" fmla="*/ 15 w 15"/>
                    <a:gd name="T3" fmla="*/ 13 h 314"/>
                    <a:gd name="T4" fmla="*/ 0 w 15"/>
                    <a:gd name="T5" fmla="*/ 0 h 314"/>
                    <a:gd name="T6" fmla="*/ 0 w 15"/>
                    <a:gd name="T7" fmla="*/ 314 h 314"/>
                    <a:gd name="T8" fmla="*/ 15 w 15"/>
                    <a:gd name="T9" fmla="*/ 314 h 314"/>
                  </a:gdLst>
                  <a:ahLst/>
                  <a:cxnLst>
                    <a:cxn ang="0">
                      <a:pos x="T0" y="T1"/>
                    </a:cxn>
                    <a:cxn ang="0">
                      <a:pos x="T2" y="T3"/>
                    </a:cxn>
                    <a:cxn ang="0">
                      <a:pos x="T4" y="T5"/>
                    </a:cxn>
                    <a:cxn ang="0">
                      <a:pos x="T6" y="T7"/>
                    </a:cxn>
                    <a:cxn ang="0">
                      <a:pos x="T8" y="T9"/>
                    </a:cxn>
                  </a:cxnLst>
                  <a:rect l="0" t="0" r="r" b="b"/>
                  <a:pathLst>
                    <a:path w="15" h="314">
                      <a:moveTo>
                        <a:pt x="15" y="314"/>
                      </a:moveTo>
                      <a:lnTo>
                        <a:pt x="15" y="13"/>
                      </a:lnTo>
                      <a:lnTo>
                        <a:pt x="0" y="0"/>
                      </a:lnTo>
                      <a:lnTo>
                        <a:pt x="0" y="314"/>
                      </a:lnTo>
                      <a:lnTo>
                        <a:pt x="15" y="314"/>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9" name="Freeform 108"/>
                <p:cNvSpPr>
                  <a:spLocks noEditPoints="1"/>
                </p:cNvSpPr>
                <p:nvPr/>
              </p:nvSpPr>
              <p:spPr bwMode="auto">
                <a:xfrm>
                  <a:off x="2839" y="822"/>
                  <a:ext cx="275" cy="275"/>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3" name="Group 32"/>
              <p:cNvGrpSpPr/>
              <p:nvPr/>
            </p:nvGrpSpPr>
            <p:grpSpPr>
              <a:xfrm>
                <a:off x="1427521" y="2632367"/>
                <a:ext cx="352368" cy="352368"/>
                <a:chOff x="1431214" y="2632367"/>
                <a:chExt cx="352368" cy="352368"/>
              </a:xfrm>
            </p:grpSpPr>
            <p:sp>
              <p:nvSpPr>
                <p:cNvPr id="32" name="Freeform 23"/>
                <p:cNvSpPr>
                  <a:spLocks/>
                </p:cNvSpPr>
                <p:nvPr/>
              </p:nvSpPr>
              <p:spPr bwMode="auto">
                <a:xfrm>
                  <a:off x="1479862" y="2739740"/>
                  <a:ext cx="255072" cy="137622"/>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sz="1200" dirty="0"/>
                </a:p>
              </p:txBody>
            </p:sp>
            <p:sp>
              <p:nvSpPr>
                <p:cNvPr id="10" name="Oval 9"/>
                <p:cNvSpPr/>
                <p:nvPr/>
              </p:nvSpPr>
              <p:spPr bwMode="auto">
                <a:xfrm>
                  <a:off x="1431214" y="2632367"/>
                  <a:ext cx="352368" cy="352368"/>
                </a:xfrm>
                <a:prstGeom prst="ellipse">
                  <a:avLst/>
                </a:prstGeom>
                <a:no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1400" b="1" dirty="0" smtClean="0">
                    <a:solidFill>
                      <a:schemeClr val="bg1"/>
                    </a:solidFill>
                    <a:latin typeface="+mj-lt"/>
                    <a:ea typeface="Segoe UI" pitchFamily="34" charset="0"/>
                    <a:cs typeface="Segoe UI" pitchFamily="34" charset="0"/>
                  </a:endParaRPr>
                </a:p>
              </p:txBody>
            </p:sp>
          </p:grpSp>
        </p:grpSp>
        <p:sp>
          <p:nvSpPr>
            <p:cNvPr id="34" name="Freeform 23"/>
            <p:cNvSpPr>
              <a:spLocks/>
            </p:cNvSpPr>
            <p:nvPr/>
          </p:nvSpPr>
          <p:spPr bwMode="auto">
            <a:xfrm>
              <a:off x="2077632" y="1852723"/>
              <a:ext cx="584825" cy="315538"/>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15"/>
            <p:cNvSpPr>
              <a:spLocks/>
            </p:cNvSpPr>
            <p:nvPr/>
          </p:nvSpPr>
          <p:spPr bwMode="auto">
            <a:xfrm>
              <a:off x="1427521" y="299674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3" name="Group 12"/>
          <p:cNvGrpSpPr/>
          <p:nvPr/>
        </p:nvGrpSpPr>
        <p:grpSpPr>
          <a:xfrm>
            <a:off x="5441052" y="1463040"/>
            <a:ext cx="1980461" cy="1143472"/>
            <a:chOff x="4883936" y="1968301"/>
            <a:chExt cx="2909984" cy="1525195"/>
          </a:xfrm>
        </p:grpSpPr>
        <p:sp>
          <p:nvSpPr>
            <p:cNvPr id="47" name="Freeform 46"/>
            <p:cNvSpPr>
              <a:spLocks/>
            </p:cNvSpPr>
            <p:nvPr/>
          </p:nvSpPr>
          <p:spPr bwMode="auto">
            <a:xfrm>
              <a:off x="4883936" y="2573892"/>
              <a:ext cx="1345915" cy="611967"/>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F2F2F2"/>
            </a:solid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600" dirty="0">
                <a:solidFill>
                  <a:srgbClr val="000000"/>
                </a:solidFill>
              </a:endParaRPr>
            </a:p>
          </p:txBody>
        </p:sp>
        <p:sp>
          <p:nvSpPr>
            <p:cNvPr id="46" name="Freeform 15"/>
            <p:cNvSpPr>
              <a:spLocks/>
            </p:cNvSpPr>
            <p:nvPr/>
          </p:nvSpPr>
          <p:spPr bwMode="auto">
            <a:xfrm>
              <a:off x="6558984" y="2114059"/>
              <a:ext cx="1234936" cy="508266"/>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3" name="Rounded Rectangle 42"/>
            <p:cNvSpPr/>
            <p:nvPr/>
          </p:nvSpPr>
          <p:spPr bwMode="auto">
            <a:xfrm>
              <a:off x="5808627" y="2127065"/>
              <a:ext cx="1057595" cy="1353425"/>
            </a:xfrm>
            <a:prstGeom prst="roundRect">
              <a:avLst>
                <a:gd name="adj" fmla="val 875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1400" b="1" dirty="0" smtClean="0">
                <a:solidFill>
                  <a:schemeClr val="bg1"/>
                </a:solidFill>
                <a:latin typeface="+mj-lt"/>
                <a:ea typeface="Segoe UI" pitchFamily="34" charset="0"/>
                <a:cs typeface="Segoe UI" pitchFamily="34" charset="0"/>
              </a:endParaRPr>
            </a:p>
          </p:txBody>
        </p:sp>
        <p:sp>
          <p:nvSpPr>
            <p:cNvPr id="42" name="Freeform 79"/>
            <p:cNvSpPr>
              <a:spLocks noEditPoints="1"/>
            </p:cNvSpPr>
            <p:nvPr/>
          </p:nvSpPr>
          <p:spPr bwMode="black">
            <a:xfrm>
              <a:off x="5774824" y="1968301"/>
              <a:ext cx="1128208" cy="15251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endParaRPr lang="en-US" sz="1100" dirty="0"/>
            </a:p>
          </p:txBody>
        </p:sp>
      </p:grpSp>
      <p:sp>
        <p:nvSpPr>
          <p:cNvPr id="4" name="Title 3"/>
          <p:cNvSpPr>
            <a:spLocks noGrp="1"/>
          </p:cNvSpPr>
          <p:nvPr>
            <p:ph type="title"/>
          </p:nvPr>
        </p:nvSpPr>
        <p:spPr/>
        <p:txBody>
          <a:bodyPr lIns="91440" rIns="91440"/>
          <a:lstStyle/>
          <a:p>
            <a:r>
              <a:rPr lang="en-US" sz="4800" dirty="0" smtClean="0"/>
              <a:t>Backup to Azure</a:t>
            </a:r>
            <a:endParaRPr lang="en-US" sz="4800" dirty="0"/>
          </a:p>
        </p:txBody>
      </p:sp>
      <p:sp>
        <p:nvSpPr>
          <p:cNvPr id="31" name="Rectangle 30"/>
          <p:cNvSpPr/>
          <p:nvPr/>
        </p:nvSpPr>
        <p:spPr bwMode="auto">
          <a:xfrm>
            <a:off x="296925" y="1585777"/>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Backup to Azure (blob storage)</a:t>
            </a:r>
          </a:p>
        </p:txBody>
      </p:sp>
      <p:sp>
        <p:nvSpPr>
          <p:cNvPr id="35" name="TextBox 34"/>
          <p:cNvSpPr txBox="1"/>
          <p:nvPr/>
        </p:nvSpPr>
        <p:spPr>
          <a:xfrm>
            <a:off x="299477" y="2427648"/>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dirty="0"/>
              <a:t>On-premises production databases backed up directly to Azure blob storage for disaster </a:t>
            </a:r>
            <a:r>
              <a:rPr lang="en-US" sz="1200" dirty="0" smtClean="0"/>
              <a:t>recovery. </a:t>
            </a:r>
            <a:endParaRPr lang="en-US" sz="1200" dirty="0" smtClean="0"/>
          </a:p>
          <a:p>
            <a:pPr>
              <a:lnSpc>
                <a:spcPct val="90000"/>
              </a:lnSpc>
              <a:spcAft>
                <a:spcPts val="600"/>
              </a:spcAft>
            </a:pPr>
            <a:endParaRPr lang="en-US" sz="1200" dirty="0">
              <a:gradFill>
                <a:gsLst>
                  <a:gs pos="2917">
                    <a:schemeClr val="tx1"/>
                  </a:gs>
                  <a:gs pos="30000">
                    <a:schemeClr val="tx1"/>
                  </a:gs>
                </a:gsLst>
                <a:lin ang="5400000" scaled="0"/>
              </a:gradFill>
            </a:endParaRPr>
          </a:p>
          <a:p>
            <a:pPr>
              <a:lnSpc>
                <a:spcPct val="90000"/>
              </a:lnSpc>
              <a:spcAft>
                <a:spcPts val="600"/>
              </a:spcAft>
            </a:pPr>
            <a:r>
              <a:rPr lang="en-US" sz="1200" dirty="0" smtClean="0">
                <a:gradFill>
                  <a:gsLst>
                    <a:gs pos="2917">
                      <a:schemeClr val="tx1"/>
                    </a:gs>
                    <a:gs pos="30000">
                      <a:schemeClr val="tx1"/>
                    </a:gs>
                  </a:gsLst>
                  <a:lin ang="5400000" scaled="0"/>
                </a:gradFill>
              </a:rPr>
              <a:t>Supports compression and encryption.</a:t>
            </a:r>
            <a:endParaRPr lang="en-US" sz="1200" dirty="0" smtClean="0">
              <a:gradFill>
                <a:gsLst>
                  <a:gs pos="2917">
                    <a:schemeClr val="tx1"/>
                  </a:gs>
                  <a:gs pos="30000">
                    <a:schemeClr val="tx1"/>
                  </a:gs>
                </a:gsLst>
                <a:lin ang="5400000" scaled="0"/>
              </a:gradFill>
            </a:endParaRPr>
          </a:p>
        </p:txBody>
      </p:sp>
      <p:sp>
        <p:nvSpPr>
          <p:cNvPr id="36" name="TextBox 35"/>
          <p:cNvSpPr txBox="1"/>
          <p:nvPr/>
        </p:nvSpPr>
        <p:spPr>
          <a:xfrm>
            <a:off x="2636838" y="4792662"/>
            <a:ext cx="8458200" cy="1803528"/>
          </a:xfrm>
          <a:prstGeom prst="rect">
            <a:avLst/>
          </a:prstGeom>
          <a:solidFill>
            <a:schemeClr val="bg1">
              <a:lumMod val="95000"/>
            </a:schemeClr>
          </a:solidFill>
          <a:ln w="76200">
            <a:solidFill>
              <a:srgbClr val="0072C6"/>
            </a:solidFill>
            <a:miter lim="800000"/>
          </a:ln>
        </p:spPr>
        <p:txBody>
          <a:bodyPr wrap="square" lIns="182854" tIns="146283" rIns="182854" bIns="146283" rtlCol="0">
            <a:spAutoFit/>
          </a:bodyPr>
          <a:lstStyle/>
          <a:p>
            <a:r>
              <a:rPr lang="en-US" sz="1400" dirty="0">
                <a:solidFill>
                  <a:schemeClr val="tx1">
                    <a:lumMod val="85000"/>
                  </a:schemeClr>
                </a:solidFill>
                <a:latin typeface="Consolas" panose="020B0609020204030204" pitchFamily="49" charset="0"/>
                <a:cs typeface="Consolas" panose="020B0609020204030204" pitchFamily="49" charset="0"/>
              </a:rPr>
              <a:t>CREATE CREDENTIAL </a:t>
            </a:r>
            <a:r>
              <a:rPr lang="en-US" sz="1400" dirty="0">
                <a:solidFill>
                  <a:schemeClr val="tx1">
                    <a:lumMod val="60000"/>
                    <a:lumOff val="40000"/>
                  </a:schemeClr>
                </a:solidFill>
                <a:latin typeface="Consolas" panose="020B0609020204030204" pitchFamily="49" charset="0"/>
                <a:cs typeface="Consolas" panose="020B0609020204030204" pitchFamily="49" charset="0"/>
              </a:rPr>
              <a:t>[https://&lt;account&gt;.blob.core.windows.net/&lt;container&gt;]</a:t>
            </a:r>
          </a:p>
          <a:p>
            <a:r>
              <a:rPr lang="en-US" sz="1400" dirty="0">
                <a:solidFill>
                  <a:schemeClr val="tx1">
                    <a:lumMod val="85000"/>
                  </a:schemeClr>
                </a:solidFill>
                <a:latin typeface="Consolas" panose="020B0609020204030204" pitchFamily="49" charset="0"/>
                <a:cs typeface="Consolas" panose="020B0609020204030204" pitchFamily="49" charset="0"/>
              </a:rPr>
              <a:t>WITH IDENTITY = 'Shared Access Signature',</a:t>
            </a:r>
          </a:p>
          <a:p>
            <a:r>
              <a:rPr lang="en-US" sz="1400" dirty="0">
                <a:solidFill>
                  <a:schemeClr val="tx1">
                    <a:lumMod val="85000"/>
                  </a:schemeClr>
                </a:solidFill>
                <a:latin typeface="Consolas" panose="020B0609020204030204" pitchFamily="49" charset="0"/>
                <a:cs typeface="Consolas" panose="020B0609020204030204" pitchFamily="49" charset="0"/>
              </a:rPr>
              <a:t>SECRET = 'sig=mw3K6dpwV%2BWUPj8L4Dq3cyNxCI'</a:t>
            </a:r>
          </a:p>
          <a:p>
            <a:endParaRPr lang="en-US" sz="1400" dirty="0">
              <a:solidFill>
                <a:schemeClr val="tx1">
                  <a:lumMod val="85000"/>
                </a:schemeClr>
              </a:solidFill>
              <a:latin typeface="Consolas" panose="020B0609020204030204" pitchFamily="49" charset="0"/>
              <a:cs typeface="Consolas" panose="020B0609020204030204" pitchFamily="49" charset="0"/>
            </a:endParaRPr>
          </a:p>
          <a:p>
            <a:r>
              <a:rPr lang="en-US" sz="1400" dirty="0">
                <a:solidFill>
                  <a:schemeClr val="tx1">
                    <a:lumMod val="85000"/>
                  </a:schemeClr>
                </a:solidFill>
                <a:latin typeface="Consolas" panose="020B0609020204030204" pitchFamily="49" charset="0"/>
                <a:cs typeface="Consolas" panose="020B0609020204030204" pitchFamily="49" charset="0"/>
              </a:rPr>
              <a:t>BACKUP DATABASE database TO</a:t>
            </a:r>
          </a:p>
          <a:p>
            <a:r>
              <a:rPr lang="en-US" sz="1400" dirty="0">
                <a:solidFill>
                  <a:schemeClr val="tx1">
                    <a:lumMod val="85000"/>
                  </a:schemeClr>
                </a:solidFill>
                <a:latin typeface="Consolas" panose="020B0609020204030204" pitchFamily="49" charset="0"/>
                <a:cs typeface="Consolas" panose="020B0609020204030204" pitchFamily="49" charset="0"/>
              </a:rPr>
              <a:t> </a:t>
            </a:r>
            <a:r>
              <a:rPr lang="en-US" sz="1400" dirty="0">
                <a:solidFill>
                  <a:srgbClr val="FF0000"/>
                </a:solidFill>
                <a:latin typeface="Consolas" panose="020B0609020204030204" pitchFamily="49" charset="0"/>
                <a:cs typeface="Consolas" panose="020B0609020204030204" pitchFamily="49" charset="0"/>
              </a:rPr>
              <a:t>URL = </a:t>
            </a:r>
            <a:r>
              <a:rPr lang="en-US" sz="1400" dirty="0">
                <a:solidFill>
                  <a:schemeClr val="tx1">
                    <a:lumMod val="85000"/>
                  </a:schemeClr>
                </a:solidFill>
                <a:latin typeface="Consolas" panose="020B0609020204030204" pitchFamily="49" charset="0"/>
                <a:cs typeface="Consolas" panose="020B0609020204030204" pitchFamily="49" charset="0"/>
              </a:rPr>
              <a:t>N'</a:t>
            </a:r>
            <a:r>
              <a:rPr lang="en-US" sz="1400" dirty="0">
                <a:solidFill>
                  <a:schemeClr val="bg2">
                    <a:lumMod val="75000"/>
                  </a:schemeClr>
                </a:solidFill>
                <a:latin typeface="Consolas" panose="020B0609020204030204" pitchFamily="49" charset="0"/>
                <a:cs typeface="Consolas" panose="020B0609020204030204" pitchFamily="49" charset="0"/>
              </a:rPr>
              <a:t>https://&lt;account&gt;.blob.core.windows.net/&lt;container&gt;/</a:t>
            </a:r>
            <a:r>
              <a:rPr lang="en-US" sz="1400" dirty="0">
                <a:latin typeface="Consolas" panose="020B0609020204030204" pitchFamily="49" charset="0"/>
                <a:cs typeface="Consolas" panose="020B0609020204030204" pitchFamily="49" charset="0"/>
              </a:rPr>
              <a:t>&lt;</a:t>
            </a:r>
            <a:r>
              <a:rPr lang="en-US" sz="1400" dirty="0">
                <a:solidFill>
                  <a:schemeClr val="tx1">
                    <a:lumMod val="85000"/>
                  </a:schemeClr>
                </a:solidFill>
                <a:latin typeface="Consolas" panose="020B0609020204030204" pitchFamily="49" charset="0"/>
                <a:cs typeface="Consolas" panose="020B0609020204030204" pitchFamily="49" charset="0"/>
              </a:rPr>
              <a:t>blob1&gt;',</a:t>
            </a:r>
          </a:p>
          <a:p>
            <a:r>
              <a:rPr lang="en-US" sz="1400" dirty="0">
                <a:solidFill>
                  <a:schemeClr val="tx1">
                    <a:lumMod val="85000"/>
                  </a:schemeClr>
                </a:solidFill>
                <a:latin typeface="Consolas" panose="020B0609020204030204" pitchFamily="49" charset="0"/>
                <a:cs typeface="Consolas" panose="020B0609020204030204" pitchFamily="49" charset="0"/>
              </a:rPr>
              <a:t> </a:t>
            </a:r>
            <a:r>
              <a:rPr lang="en-US" sz="1400" dirty="0">
                <a:solidFill>
                  <a:srgbClr val="FF0000"/>
                </a:solidFill>
                <a:latin typeface="Consolas" panose="020B0609020204030204" pitchFamily="49" charset="0"/>
                <a:cs typeface="Consolas" panose="020B0609020204030204" pitchFamily="49" charset="0"/>
              </a:rPr>
              <a:t>URL = </a:t>
            </a:r>
            <a:r>
              <a:rPr lang="en-US" sz="1400" dirty="0">
                <a:solidFill>
                  <a:schemeClr val="tx1">
                    <a:lumMod val="85000"/>
                  </a:schemeClr>
                </a:solidFill>
                <a:latin typeface="Consolas" panose="020B0609020204030204" pitchFamily="49" charset="0"/>
                <a:cs typeface="Consolas" panose="020B0609020204030204" pitchFamily="49" charset="0"/>
              </a:rPr>
              <a:t>N'</a:t>
            </a:r>
            <a:r>
              <a:rPr lang="en-US" sz="1400" dirty="0">
                <a:solidFill>
                  <a:schemeClr val="bg2">
                    <a:lumMod val="75000"/>
                  </a:schemeClr>
                </a:solidFill>
                <a:latin typeface="Consolas" panose="020B0609020204030204" pitchFamily="49" charset="0"/>
                <a:cs typeface="Consolas" panose="020B0609020204030204" pitchFamily="49" charset="0"/>
              </a:rPr>
              <a:t>https://&lt;account&gt;.blob.core.windows.net/&lt;container&gt;/</a:t>
            </a:r>
            <a:r>
              <a:rPr lang="en-US" sz="1400" dirty="0">
                <a:latin typeface="Consolas" panose="020B0609020204030204" pitchFamily="49" charset="0"/>
                <a:cs typeface="Consolas" panose="020B0609020204030204" pitchFamily="49" charset="0"/>
              </a:rPr>
              <a:t>&lt;</a:t>
            </a:r>
            <a:r>
              <a:rPr lang="en-US" sz="1400" dirty="0">
                <a:solidFill>
                  <a:schemeClr val="tx1">
                    <a:lumMod val="85000"/>
                  </a:schemeClr>
                </a:solidFill>
                <a:latin typeface="Consolas" panose="020B0609020204030204" pitchFamily="49" charset="0"/>
                <a:cs typeface="Consolas" panose="020B0609020204030204" pitchFamily="49" charset="0"/>
              </a:rPr>
              <a:t>blob2&gt;'</a:t>
            </a:r>
          </a:p>
        </p:txBody>
      </p:sp>
      <p:sp>
        <p:nvSpPr>
          <p:cNvPr id="5" name="Rectangle 4"/>
          <p:cNvSpPr/>
          <p:nvPr/>
        </p:nvSpPr>
        <p:spPr>
          <a:xfrm>
            <a:off x="8915876" y="2687144"/>
            <a:ext cx="2712561" cy="1836400"/>
          </a:xfrm>
          <a:prstGeom prst="rect">
            <a:avLst/>
          </a:prstGeom>
        </p:spPr>
        <p:txBody>
          <a:bodyPr wrap="square" lIns="182880" rIns="182880">
            <a:spAutoFit/>
          </a:bodyPr>
          <a:lstStyle/>
          <a:p>
            <a:pPr>
              <a:spcAft>
                <a:spcPts val="1000"/>
              </a:spcAft>
            </a:pPr>
            <a:r>
              <a:rPr lang="en-US" sz="1400" dirty="0">
                <a:solidFill>
                  <a:srgbClr val="002060"/>
                </a:solidFill>
                <a:latin typeface="Segoe UI Light" panose="020B0502040204020203" pitchFamily="34" charset="0"/>
                <a:ea typeface="Times New Roman" panose="02020603050405020304" pitchFamily="18" charset="0"/>
                <a:cs typeface="Segoe UI Light" panose="020B0502040204020203" pitchFamily="34" charset="0"/>
              </a:rPr>
              <a:t>Managed backup</a:t>
            </a:r>
          </a:p>
          <a:p>
            <a:pPr marR="0">
              <a:spcBef>
                <a:spcPts val="0"/>
              </a:spcBef>
              <a:spcAft>
                <a:spcPts val="1000"/>
              </a:spcAft>
            </a:pPr>
            <a:r>
              <a:rPr lang="en-US" sz="1100" dirty="0">
                <a:latin typeface="Segoe UI" panose="020B0502040204020203" pitchFamily="34" charset="0"/>
                <a:ea typeface="Times New Roman" panose="02020603050405020304" pitchFamily="18" charset="0"/>
                <a:cs typeface="Segoe UI" panose="020B0502040204020203" pitchFamily="34" charset="0"/>
              </a:rPr>
              <a:t>Granular control of the backup </a:t>
            </a:r>
            <a:r>
              <a:rPr lang="en-US" sz="1100" dirty="0" smtClean="0">
                <a:latin typeface="Segoe UI" panose="020B0502040204020203" pitchFamily="34" charset="0"/>
                <a:ea typeface="Times New Roman" panose="02020603050405020304" pitchFamily="18" charset="0"/>
                <a:cs typeface="Segoe UI" panose="020B0502040204020203" pitchFamily="34" charset="0"/>
              </a:rPr>
              <a:t>schedule</a:t>
            </a:r>
            <a:endParaRPr lang="en-US" sz="11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100" dirty="0">
                <a:latin typeface="Segoe UI" panose="020B0502040204020203" pitchFamily="34" charset="0"/>
                <a:ea typeface="Times New Roman" panose="02020603050405020304" pitchFamily="18" charset="0"/>
                <a:cs typeface="Segoe UI" panose="020B0502040204020203" pitchFamily="34" charset="0"/>
              </a:rPr>
              <a:t>L</a:t>
            </a:r>
            <a:r>
              <a:rPr lang="en-US" sz="1100" dirty="0" smtClean="0">
                <a:latin typeface="Segoe UI" panose="020B0502040204020203" pitchFamily="34" charset="0"/>
                <a:ea typeface="Times New Roman" panose="02020603050405020304" pitchFamily="18" charset="0"/>
                <a:cs typeface="Segoe UI" panose="020B0502040204020203" pitchFamily="34" charset="0"/>
              </a:rPr>
              <a:t>ocal staging </a:t>
            </a:r>
            <a:r>
              <a:rPr lang="en-US" sz="1100" dirty="0">
                <a:latin typeface="Segoe UI" panose="020B0502040204020203" pitchFamily="34" charset="0"/>
                <a:ea typeface="Times New Roman" panose="02020603050405020304" pitchFamily="18" charset="0"/>
                <a:cs typeface="Segoe UI" panose="020B0502040204020203" pitchFamily="34" charset="0"/>
              </a:rPr>
              <a:t>for faster recovery and </a:t>
            </a:r>
            <a:r>
              <a:rPr lang="en-US" sz="1100" dirty="0" smtClean="0">
                <a:latin typeface="Segoe UI" panose="020B0502040204020203" pitchFamily="34" charset="0"/>
                <a:ea typeface="Times New Roman" panose="02020603050405020304" pitchFamily="18" charset="0"/>
                <a:cs typeface="Segoe UI" panose="020B0502040204020203" pitchFamily="34" charset="0"/>
              </a:rPr>
              <a:t>greater network resiliency</a:t>
            </a:r>
            <a:endParaRPr lang="en-US" sz="11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100" dirty="0">
                <a:latin typeface="Segoe UI" panose="020B0502040204020203" pitchFamily="34" charset="0"/>
                <a:ea typeface="Times New Roman" panose="02020603050405020304" pitchFamily="18" charset="0"/>
                <a:cs typeface="Segoe UI" panose="020B0502040204020203" pitchFamily="34" charset="0"/>
              </a:rPr>
              <a:t>S</a:t>
            </a:r>
            <a:r>
              <a:rPr lang="en-US" sz="1100" dirty="0" smtClean="0">
                <a:latin typeface="Segoe UI" panose="020B0502040204020203" pitchFamily="34" charset="0"/>
                <a:ea typeface="Times New Roman" panose="02020603050405020304" pitchFamily="18" charset="0"/>
                <a:cs typeface="Segoe UI" panose="020B0502040204020203" pitchFamily="34" charset="0"/>
              </a:rPr>
              <a:t>ystem database support</a:t>
            </a:r>
            <a:endParaRPr lang="en-US" sz="1100" dirty="0">
              <a:latin typeface="Segoe UI" panose="020B0502040204020203" pitchFamily="34" charset="0"/>
              <a:ea typeface="Times New Roman" panose="02020603050405020304" pitchFamily="18" charset="0"/>
              <a:cs typeface="Segoe UI" panose="020B0502040204020203" pitchFamily="34" charset="0"/>
            </a:endParaRPr>
          </a:p>
          <a:p>
            <a:pPr marR="0">
              <a:spcBef>
                <a:spcPts val="0"/>
              </a:spcBef>
              <a:spcAft>
                <a:spcPts val="1000"/>
              </a:spcAft>
            </a:pPr>
            <a:r>
              <a:rPr lang="en-US" sz="1100" dirty="0" smtClean="0">
                <a:latin typeface="Segoe UI" panose="020B0502040204020203" pitchFamily="34" charset="0"/>
                <a:ea typeface="Times New Roman" panose="02020603050405020304" pitchFamily="18" charset="0"/>
                <a:cs typeface="Segoe UI" panose="020B0502040204020203" pitchFamily="34" charset="0"/>
              </a:rPr>
              <a:t>Simple </a:t>
            </a:r>
            <a:r>
              <a:rPr lang="en-US" sz="1100" dirty="0">
                <a:latin typeface="Segoe UI" panose="020B0502040204020203" pitchFamily="34" charset="0"/>
                <a:ea typeface="Times New Roman" panose="02020603050405020304" pitchFamily="18" charset="0"/>
                <a:cs typeface="Segoe UI" panose="020B0502040204020203" pitchFamily="34" charset="0"/>
              </a:rPr>
              <a:t>recovery </a:t>
            </a:r>
            <a:r>
              <a:rPr lang="en-US" sz="1100" dirty="0" smtClean="0">
                <a:latin typeface="Segoe UI" panose="020B0502040204020203" pitchFamily="34" charset="0"/>
                <a:ea typeface="Times New Roman" panose="02020603050405020304" pitchFamily="18" charset="0"/>
                <a:cs typeface="Segoe UI" panose="020B0502040204020203" pitchFamily="34" charset="0"/>
              </a:rPr>
              <a:t>mode support</a:t>
            </a:r>
          </a:p>
        </p:txBody>
      </p:sp>
    </p:spTree>
    <p:extLst>
      <p:ext uri="{BB962C8B-B14F-4D97-AF65-F5344CB8AC3E}">
        <p14:creationId xmlns:p14="http://schemas.microsoft.com/office/powerpoint/2010/main" val="833486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nodeType="clickEffect">
                                  <p:stCondLst>
                                    <p:cond delay="0"/>
                                  </p:stCondLst>
                                  <p:childTnLst>
                                    <p:animClr clrSpc="rgb" dir="cw">
                                      <p:cBhvr override="childStyle">
                                        <p:cTn id="6" dur="500" autoRev="1" fill="remove"/>
                                        <p:tgtEl>
                                          <p:spTgt spid="36">
                                            <p:txEl>
                                              <p:pRg st="5" end="5"/>
                                            </p:txEl>
                                          </p:spTgt>
                                        </p:tgtEl>
                                        <p:attrNameLst>
                                          <p:attrName>style.color</p:attrName>
                                        </p:attrNameLst>
                                      </p:cBhvr>
                                      <p:to>
                                        <a:schemeClr val="bg1"/>
                                      </p:to>
                                    </p:animClr>
                                    <p:animClr clrSpc="rgb" dir="cw">
                                      <p:cBhvr>
                                        <p:cTn id="7" dur="500" autoRev="1" fill="remove"/>
                                        <p:tgtEl>
                                          <p:spTgt spid="36">
                                            <p:txEl>
                                              <p:pRg st="5" end="5"/>
                                            </p:txEl>
                                          </p:spTgt>
                                        </p:tgtEl>
                                        <p:attrNameLst>
                                          <p:attrName>fillcolor</p:attrName>
                                        </p:attrNameLst>
                                      </p:cBhvr>
                                      <p:to>
                                        <a:schemeClr val="bg1"/>
                                      </p:to>
                                    </p:animClr>
                                    <p:set>
                                      <p:cBhvr>
                                        <p:cTn id="8" dur="500" autoRev="1" fill="remove"/>
                                        <p:tgtEl>
                                          <p:spTgt spid="36">
                                            <p:txEl>
                                              <p:pRg st="5" end="5"/>
                                            </p:txEl>
                                          </p:spTgt>
                                        </p:tgtEl>
                                        <p:attrNameLst>
                                          <p:attrName>fill.type</p:attrName>
                                        </p:attrNameLst>
                                      </p:cBhvr>
                                      <p:to>
                                        <p:strVal val="solid"/>
                                      </p:to>
                                    </p:set>
                                    <p:set>
                                      <p:cBhvr>
                                        <p:cTn id="9" dur="500" autoRev="1" fill="remove"/>
                                        <p:tgtEl>
                                          <p:spTgt spid="36">
                                            <p:txEl>
                                              <p:pRg st="5" end="5"/>
                                            </p:txEl>
                                          </p:spTgt>
                                        </p:tgtEl>
                                        <p:attrNameLst>
                                          <p:attrName>fill.on</p:attrName>
                                        </p:attrNameLst>
                                      </p:cBhvr>
                                      <p:to>
                                        <p:strVal val="true"/>
                                      </p:to>
                                    </p:set>
                                  </p:childTnLst>
                                </p:cTn>
                              </p:par>
                              <p:par>
                                <p:cTn id="10" presetID="27" presetClass="emph" presetSubtype="0" fill="remove" nodeType="withEffect">
                                  <p:stCondLst>
                                    <p:cond delay="0"/>
                                  </p:stCondLst>
                                  <p:childTnLst>
                                    <p:animClr clrSpc="rgb" dir="cw">
                                      <p:cBhvr override="childStyle">
                                        <p:cTn id="11" dur="750" autoRev="1" fill="remove"/>
                                        <p:tgtEl>
                                          <p:spTgt spid="36">
                                            <p:txEl>
                                              <p:pRg st="6" end="6"/>
                                            </p:txEl>
                                          </p:spTgt>
                                        </p:tgtEl>
                                        <p:attrNameLst>
                                          <p:attrName>style.color</p:attrName>
                                        </p:attrNameLst>
                                      </p:cBhvr>
                                      <p:to>
                                        <a:schemeClr val="bg1"/>
                                      </p:to>
                                    </p:animClr>
                                    <p:animClr clrSpc="rgb" dir="cw">
                                      <p:cBhvr>
                                        <p:cTn id="12" dur="750" autoRev="1" fill="remove"/>
                                        <p:tgtEl>
                                          <p:spTgt spid="36">
                                            <p:txEl>
                                              <p:pRg st="6" end="6"/>
                                            </p:txEl>
                                          </p:spTgt>
                                        </p:tgtEl>
                                        <p:attrNameLst>
                                          <p:attrName>fillcolor</p:attrName>
                                        </p:attrNameLst>
                                      </p:cBhvr>
                                      <p:to>
                                        <a:schemeClr val="bg1"/>
                                      </p:to>
                                    </p:animClr>
                                    <p:set>
                                      <p:cBhvr>
                                        <p:cTn id="13" dur="750" autoRev="1" fill="remove"/>
                                        <p:tgtEl>
                                          <p:spTgt spid="36">
                                            <p:txEl>
                                              <p:pRg st="6" end="6"/>
                                            </p:txEl>
                                          </p:spTgt>
                                        </p:tgtEl>
                                        <p:attrNameLst>
                                          <p:attrName>fill.type</p:attrName>
                                        </p:attrNameLst>
                                      </p:cBhvr>
                                      <p:to>
                                        <p:strVal val="solid"/>
                                      </p:to>
                                    </p:set>
                                    <p:set>
                                      <p:cBhvr>
                                        <p:cTn id="14" dur="750" autoRev="1" fill="remove"/>
                                        <p:tgtEl>
                                          <p:spTgt spid="36">
                                            <p:txEl>
                                              <p:pRg st="6" end="6"/>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Demo</a:t>
            </a:r>
            <a:endParaRPr lang="en-US" dirty="0"/>
          </a:p>
        </p:txBody>
      </p:sp>
      <p:sp>
        <p:nvSpPr>
          <p:cNvPr id="3" name="Text Placeholder 2"/>
          <p:cNvSpPr>
            <a:spLocks noGrp="1"/>
          </p:cNvSpPr>
          <p:nvPr>
            <p:ph type="body" sz="quarter" idx="10"/>
          </p:nvPr>
        </p:nvSpPr>
        <p:spPr>
          <a:xfrm>
            <a:off x="503237" y="4015422"/>
            <a:ext cx="11704320" cy="822960"/>
          </a:xfrm>
        </p:spPr>
        <p:txBody>
          <a:bodyPr/>
          <a:lstStyle/>
          <a:p>
            <a:r>
              <a:rPr lang="en-US" sz="2400" dirty="0" smtClean="0"/>
              <a:t>Backup to URL</a:t>
            </a:r>
            <a:endParaRPr lang="en-US" sz="2400" dirty="0"/>
          </a:p>
        </p:txBody>
      </p:sp>
      <p:pic>
        <p:nvPicPr>
          <p:cNvPr id="14" name="Picture 13"/>
          <p:cNvPicPr>
            <a:picLocks noChangeAspect="1"/>
          </p:cNvPicPr>
          <p:nvPr/>
        </p:nvPicPr>
        <p:blipFill>
          <a:blip r:embed="rId2"/>
          <a:stretch>
            <a:fillRect/>
          </a:stretch>
        </p:blipFill>
        <p:spPr>
          <a:xfrm>
            <a:off x="7361237" y="2419509"/>
            <a:ext cx="3728162" cy="3847782"/>
          </a:xfrm>
          <a:prstGeom prst="rect">
            <a:avLst/>
          </a:prstGeom>
        </p:spPr>
      </p:pic>
    </p:spTree>
    <p:extLst>
      <p:ext uri="{BB962C8B-B14F-4D97-AF65-F5344CB8AC3E}">
        <p14:creationId xmlns:p14="http://schemas.microsoft.com/office/powerpoint/2010/main" val="2103085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reeform 71"/>
          <p:cNvSpPr/>
          <p:nvPr/>
        </p:nvSpPr>
        <p:spPr bwMode="auto">
          <a:xfrm>
            <a:off x="7321518" y="1606970"/>
            <a:ext cx="2533073" cy="158911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2" name="Title 1"/>
          <p:cNvSpPr>
            <a:spLocks noGrp="1"/>
          </p:cNvSpPr>
          <p:nvPr>
            <p:ph type="title"/>
          </p:nvPr>
        </p:nvSpPr>
        <p:spPr>
          <a:xfrm>
            <a:off x="365760" y="365760"/>
            <a:ext cx="11887518" cy="848407"/>
          </a:xfrm>
          <a:noFill/>
        </p:spPr>
        <p:txBody>
          <a:bodyPr>
            <a:noAutofit/>
          </a:bodyPr>
          <a:lstStyle/>
          <a:p>
            <a:r>
              <a:rPr lang="en-US" sz="4800" dirty="0"/>
              <a:t>SQL Server </a:t>
            </a:r>
            <a:r>
              <a:rPr lang="en-US" sz="4800" dirty="0" smtClean="0"/>
              <a:t>data </a:t>
            </a:r>
            <a:r>
              <a:rPr lang="en-US" sz="4800" dirty="0"/>
              <a:t>f</a:t>
            </a:r>
            <a:r>
              <a:rPr lang="en-US" sz="4800" dirty="0" smtClean="0"/>
              <a:t>iles </a:t>
            </a:r>
            <a:r>
              <a:rPr lang="en-US" sz="4800" dirty="0"/>
              <a:t>in Azure </a:t>
            </a:r>
            <a:r>
              <a:rPr lang="en-US" sz="4800" dirty="0" smtClean="0"/>
              <a:t/>
            </a:r>
            <a:br>
              <a:rPr lang="en-US" sz="4800" dirty="0" smtClean="0"/>
            </a:br>
            <a:endParaRPr lang="en-US" sz="2200" dirty="0"/>
          </a:p>
        </p:txBody>
      </p:sp>
      <p:grpSp>
        <p:nvGrpSpPr>
          <p:cNvPr id="43" name="Group 21"/>
          <p:cNvGrpSpPr>
            <a:grpSpLocks noChangeAspect="1"/>
          </p:cNvGrpSpPr>
          <p:nvPr/>
        </p:nvGrpSpPr>
        <p:grpSpPr bwMode="auto">
          <a:xfrm>
            <a:off x="3801294" y="1397752"/>
            <a:ext cx="576454" cy="772336"/>
            <a:chOff x="966" y="2128"/>
            <a:chExt cx="206" cy="276"/>
          </a:xfrm>
          <a:solidFill>
            <a:srgbClr val="0072C6"/>
          </a:solidFill>
        </p:grpSpPr>
        <p:sp>
          <p:nvSpPr>
            <p:cNvPr id="45"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21"/>
          <p:cNvGrpSpPr>
            <a:grpSpLocks noChangeAspect="1"/>
          </p:cNvGrpSpPr>
          <p:nvPr/>
        </p:nvGrpSpPr>
        <p:grpSpPr bwMode="auto">
          <a:xfrm>
            <a:off x="4670523" y="1397752"/>
            <a:ext cx="576454" cy="772336"/>
            <a:chOff x="966" y="2128"/>
            <a:chExt cx="206" cy="276"/>
          </a:xfrm>
          <a:solidFill>
            <a:srgbClr val="0072C6"/>
          </a:solidFill>
        </p:grpSpPr>
        <p:sp>
          <p:nvSpPr>
            <p:cNvPr id="50"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5" name="Group 21"/>
          <p:cNvGrpSpPr>
            <a:grpSpLocks noChangeAspect="1"/>
          </p:cNvGrpSpPr>
          <p:nvPr/>
        </p:nvGrpSpPr>
        <p:grpSpPr bwMode="auto">
          <a:xfrm>
            <a:off x="3801294" y="2992058"/>
            <a:ext cx="576454" cy="772336"/>
            <a:chOff x="966" y="2128"/>
            <a:chExt cx="206" cy="276"/>
          </a:xfrm>
          <a:solidFill>
            <a:srgbClr val="0072C6"/>
          </a:solidFill>
        </p:grpSpPr>
        <p:sp>
          <p:nvSpPr>
            <p:cNvPr id="56"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21"/>
          <p:cNvGrpSpPr>
            <a:grpSpLocks noChangeAspect="1"/>
          </p:cNvGrpSpPr>
          <p:nvPr/>
        </p:nvGrpSpPr>
        <p:grpSpPr bwMode="auto">
          <a:xfrm>
            <a:off x="4670523" y="2992058"/>
            <a:ext cx="576454" cy="772336"/>
            <a:chOff x="966" y="2128"/>
            <a:chExt cx="206" cy="276"/>
          </a:xfrm>
          <a:solidFill>
            <a:srgbClr val="0072C6"/>
          </a:solidFill>
        </p:grpSpPr>
        <p:sp>
          <p:nvSpPr>
            <p:cNvPr id="59"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 name="Rectangle 12"/>
          <p:cNvSpPr/>
          <p:nvPr/>
        </p:nvSpPr>
        <p:spPr>
          <a:xfrm>
            <a:off x="3868362" y="1921306"/>
            <a:ext cx="487352"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1</a:t>
            </a:r>
            <a:endParaRPr lang="en-US" sz="1200" kern="0" dirty="0">
              <a:solidFill>
                <a:srgbClr val="FFFFFF"/>
              </a:solidFill>
            </a:endParaRPr>
          </a:p>
        </p:txBody>
      </p:sp>
      <p:sp>
        <p:nvSpPr>
          <p:cNvPr id="64" name="Rectangle 63"/>
          <p:cNvSpPr/>
          <p:nvPr/>
        </p:nvSpPr>
        <p:spPr>
          <a:xfrm>
            <a:off x="4756414" y="1921305"/>
            <a:ext cx="476116"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2</a:t>
            </a:r>
            <a:endParaRPr lang="en-US" sz="1200" kern="0" dirty="0">
              <a:solidFill>
                <a:srgbClr val="FFFFFF"/>
              </a:solidFill>
            </a:endParaRPr>
          </a:p>
        </p:txBody>
      </p:sp>
      <p:grpSp>
        <p:nvGrpSpPr>
          <p:cNvPr id="15" name="Group 14"/>
          <p:cNvGrpSpPr/>
          <p:nvPr/>
        </p:nvGrpSpPr>
        <p:grpSpPr>
          <a:xfrm>
            <a:off x="5536376" y="1404047"/>
            <a:ext cx="576454" cy="772336"/>
            <a:chOff x="4682563" y="2277429"/>
            <a:chExt cx="645039" cy="864227"/>
          </a:xfrm>
        </p:grpSpPr>
        <p:grpSp>
          <p:nvGrpSpPr>
            <p:cNvPr id="52" name="Group 21"/>
            <p:cNvGrpSpPr>
              <a:grpSpLocks noChangeAspect="1"/>
            </p:cNvGrpSpPr>
            <p:nvPr/>
          </p:nvGrpSpPr>
          <p:grpSpPr bwMode="auto">
            <a:xfrm>
              <a:off x="4682563" y="2277429"/>
              <a:ext cx="645039" cy="864227"/>
              <a:chOff x="966" y="2128"/>
              <a:chExt cx="206" cy="276"/>
            </a:xfrm>
            <a:solidFill>
              <a:schemeClr val="tx2">
                <a:lumMod val="75000"/>
              </a:schemeClr>
            </a:solidFill>
          </p:grpSpPr>
          <p:sp>
            <p:nvSpPr>
              <p:cNvPr id="53"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5" name="Rectangle 64"/>
            <p:cNvSpPr/>
            <p:nvPr/>
          </p:nvSpPr>
          <p:spPr>
            <a:xfrm>
              <a:off x="4773288" y="2860790"/>
              <a:ext cx="463589" cy="276999"/>
            </a:xfrm>
            <a:prstGeom prst="rect">
              <a:avLst/>
            </a:prstGeom>
          </p:spPr>
          <p:txBody>
            <a:bodyPr wrap="none">
              <a:spAutoFit/>
            </a:bodyPr>
            <a:lstStyle/>
            <a:p>
              <a:pPr algn="ctr" defTabSz="466135" fontAlgn="auto">
                <a:spcBef>
                  <a:spcPts val="0"/>
                </a:spcBef>
                <a:spcAft>
                  <a:spcPts val="0"/>
                </a:spcAft>
                <a:defRPr/>
              </a:pPr>
              <a:r>
                <a:rPr lang="en-US" sz="1200" kern="0" dirty="0" smtClean="0">
                  <a:solidFill>
                    <a:srgbClr val="FFFFFF"/>
                  </a:solidFill>
                </a:rPr>
                <a:t>DB3</a:t>
              </a:r>
              <a:endParaRPr lang="en-US" sz="1200" kern="0" dirty="0">
                <a:solidFill>
                  <a:srgbClr val="FFFFFF"/>
                </a:solidFill>
              </a:endParaRPr>
            </a:p>
          </p:txBody>
        </p:sp>
      </p:grpSp>
      <p:sp>
        <p:nvSpPr>
          <p:cNvPr id="66" name="Rectangle 65"/>
          <p:cNvSpPr/>
          <p:nvPr/>
        </p:nvSpPr>
        <p:spPr>
          <a:xfrm>
            <a:off x="3857345" y="3522623"/>
            <a:ext cx="461198"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4</a:t>
            </a:r>
            <a:endParaRPr lang="en-US" sz="1200" kern="0" dirty="0">
              <a:solidFill>
                <a:srgbClr val="FFFFFF"/>
              </a:solidFill>
            </a:endParaRPr>
          </a:p>
        </p:txBody>
      </p:sp>
      <p:sp>
        <p:nvSpPr>
          <p:cNvPr id="67" name="Rectangle 66"/>
          <p:cNvSpPr/>
          <p:nvPr/>
        </p:nvSpPr>
        <p:spPr>
          <a:xfrm>
            <a:off x="4745397" y="3522623"/>
            <a:ext cx="476116" cy="276999"/>
          </a:xfrm>
          <a:prstGeom prst="rect">
            <a:avLst/>
          </a:prstGeom>
        </p:spPr>
        <p:txBody>
          <a:bodyPr wrap="square">
            <a:spAutoFit/>
          </a:bodyPr>
          <a:lstStyle/>
          <a:p>
            <a:pPr algn="ctr" defTabSz="466135" fontAlgn="auto">
              <a:spcBef>
                <a:spcPts val="0"/>
              </a:spcBef>
              <a:spcAft>
                <a:spcPts val="0"/>
              </a:spcAft>
              <a:defRPr/>
            </a:pPr>
            <a:r>
              <a:rPr lang="en-US" sz="1200" kern="0" dirty="0" smtClean="0">
                <a:solidFill>
                  <a:srgbClr val="FFFFFF"/>
                </a:solidFill>
              </a:rPr>
              <a:t>DB5</a:t>
            </a:r>
            <a:endParaRPr lang="en-US" sz="1200" kern="0" dirty="0">
              <a:solidFill>
                <a:srgbClr val="FFFFFF"/>
              </a:solidFill>
            </a:endParaRPr>
          </a:p>
        </p:txBody>
      </p:sp>
      <p:grpSp>
        <p:nvGrpSpPr>
          <p:cNvPr id="16" name="Group 15"/>
          <p:cNvGrpSpPr/>
          <p:nvPr/>
        </p:nvGrpSpPr>
        <p:grpSpPr>
          <a:xfrm>
            <a:off x="5514342" y="2998352"/>
            <a:ext cx="576454" cy="775147"/>
            <a:chOff x="4682563" y="4156831"/>
            <a:chExt cx="645039" cy="867372"/>
          </a:xfrm>
        </p:grpSpPr>
        <p:grpSp>
          <p:nvGrpSpPr>
            <p:cNvPr id="61" name="Group 21"/>
            <p:cNvGrpSpPr>
              <a:grpSpLocks noChangeAspect="1"/>
            </p:cNvGrpSpPr>
            <p:nvPr/>
          </p:nvGrpSpPr>
          <p:grpSpPr bwMode="auto">
            <a:xfrm>
              <a:off x="4682563" y="4156831"/>
              <a:ext cx="645039" cy="864227"/>
              <a:chOff x="966" y="2128"/>
              <a:chExt cx="206" cy="276"/>
            </a:xfrm>
            <a:solidFill>
              <a:schemeClr val="tx2">
                <a:lumMod val="75000"/>
              </a:schemeClr>
            </a:solidFill>
          </p:grpSpPr>
          <p:sp>
            <p:nvSpPr>
              <p:cNvPr id="62"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8" name="Rectangle 67"/>
            <p:cNvSpPr/>
            <p:nvPr/>
          </p:nvSpPr>
          <p:spPr>
            <a:xfrm>
              <a:off x="4773288" y="4747204"/>
              <a:ext cx="463589" cy="276999"/>
            </a:xfrm>
            <a:prstGeom prst="rect">
              <a:avLst/>
            </a:prstGeom>
          </p:spPr>
          <p:txBody>
            <a:bodyPr wrap="none">
              <a:spAutoFit/>
            </a:bodyPr>
            <a:lstStyle/>
            <a:p>
              <a:pPr algn="ctr" defTabSz="466135" fontAlgn="auto">
                <a:spcBef>
                  <a:spcPts val="0"/>
                </a:spcBef>
                <a:spcAft>
                  <a:spcPts val="0"/>
                </a:spcAft>
                <a:defRPr/>
              </a:pPr>
              <a:r>
                <a:rPr lang="en-US" sz="1200" kern="0" dirty="0" smtClean="0">
                  <a:solidFill>
                    <a:srgbClr val="FFFFFF"/>
                  </a:solidFill>
                </a:rPr>
                <a:t>DB6</a:t>
              </a:r>
              <a:endParaRPr lang="en-US" sz="1200" kern="0" dirty="0">
                <a:solidFill>
                  <a:srgbClr val="FFFFFF"/>
                </a:solidFill>
              </a:endParaRPr>
            </a:p>
          </p:txBody>
        </p:sp>
      </p:grpSp>
      <p:sp>
        <p:nvSpPr>
          <p:cNvPr id="69" name="Rectangle 68"/>
          <p:cNvSpPr/>
          <p:nvPr/>
        </p:nvSpPr>
        <p:spPr>
          <a:xfrm>
            <a:off x="3791887" y="2222356"/>
            <a:ext cx="2395288" cy="338554"/>
          </a:xfrm>
          <a:prstGeom prst="rect">
            <a:avLst/>
          </a:prstGeom>
        </p:spPr>
        <p:txBody>
          <a:bodyPr wrap="square">
            <a:spAutoFit/>
          </a:bodyPr>
          <a:lstStyle/>
          <a:p>
            <a:r>
              <a:rPr lang="en-US" sz="1600" dirty="0">
                <a:solidFill>
                  <a:srgbClr val="002060"/>
                </a:solidFill>
              </a:rPr>
              <a:t>Azure Virtual Machines</a:t>
            </a:r>
          </a:p>
        </p:txBody>
      </p:sp>
      <p:sp>
        <p:nvSpPr>
          <p:cNvPr id="70" name="Rectangle 69"/>
          <p:cNvSpPr/>
          <p:nvPr/>
        </p:nvSpPr>
        <p:spPr>
          <a:xfrm>
            <a:off x="4149339" y="3828086"/>
            <a:ext cx="1860378" cy="369332"/>
          </a:xfrm>
          <a:prstGeom prst="rect">
            <a:avLst/>
          </a:prstGeom>
        </p:spPr>
        <p:txBody>
          <a:bodyPr wrap="square">
            <a:spAutoFit/>
          </a:bodyPr>
          <a:lstStyle/>
          <a:p>
            <a:r>
              <a:rPr lang="en-US" dirty="0" smtClean="0">
                <a:solidFill>
                  <a:srgbClr val="002060"/>
                </a:solidFill>
              </a:rPr>
              <a:t>On-premises</a:t>
            </a:r>
            <a:endParaRPr lang="en-US" dirty="0">
              <a:solidFill>
                <a:srgbClr val="002060"/>
              </a:solidFill>
            </a:endParaRPr>
          </a:p>
        </p:txBody>
      </p:sp>
      <p:sp>
        <p:nvSpPr>
          <p:cNvPr id="73" name="TextBox 72"/>
          <p:cNvSpPr txBox="1"/>
          <p:nvPr/>
        </p:nvSpPr>
        <p:spPr>
          <a:xfrm>
            <a:off x="7662168" y="3154663"/>
            <a:ext cx="227397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rgbClr val="002060"/>
                </a:solidFill>
              </a:rPr>
              <a:t>Azure Storage</a:t>
            </a:r>
          </a:p>
        </p:txBody>
      </p:sp>
      <p:sp>
        <p:nvSpPr>
          <p:cNvPr id="74" name="Freeform 31"/>
          <p:cNvSpPr>
            <a:spLocks noEditPoints="1"/>
          </p:cNvSpPr>
          <p:nvPr/>
        </p:nvSpPr>
        <p:spPr bwMode="auto">
          <a:xfrm>
            <a:off x="8262920" y="2290627"/>
            <a:ext cx="1072469" cy="928300"/>
          </a:xfrm>
          <a:custGeom>
            <a:avLst/>
            <a:gdLst>
              <a:gd name="T0" fmla="*/ 538 w 683"/>
              <a:gd name="T1" fmla="*/ 229 h 587"/>
              <a:gd name="T2" fmla="*/ 517 w 683"/>
              <a:gd name="T3" fmla="*/ 0 h 587"/>
              <a:gd name="T4" fmla="*/ 0 w 683"/>
              <a:gd name="T5" fmla="*/ 21 h 587"/>
              <a:gd name="T6" fmla="*/ 21 w 683"/>
              <a:gd name="T7" fmla="*/ 459 h 587"/>
              <a:gd name="T8" fmla="*/ 376 w 683"/>
              <a:gd name="T9" fmla="*/ 587 h 587"/>
              <a:gd name="T10" fmla="*/ 683 w 683"/>
              <a:gd name="T11" fmla="*/ 408 h 587"/>
              <a:gd name="T12" fmla="*/ 399 w 683"/>
              <a:gd name="T13" fmla="*/ 120 h 587"/>
              <a:gd name="T14" fmla="*/ 498 w 683"/>
              <a:gd name="T15" fmla="*/ 180 h 587"/>
              <a:gd name="T16" fmla="*/ 399 w 683"/>
              <a:gd name="T17" fmla="*/ 120 h 587"/>
              <a:gd name="T18" fmla="*/ 498 w 683"/>
              <a:gd name="T19" fmla="*/ 229 h 587"/>
              <a:gd name="T20" fmla="*/ 399 w 683"/>
              <a:gd name="T21" fmla="*/ 199 h 587"/>
              <a:gd name="T22" fmla="*/ 279 w 683"/>
              <a:gd name="T23" fmla="*/ 120 h 587"/>
              <a:gd name="T24" fmla="*/ 378 w 683"/>
              <a:gd name="T25" fmla="*/ 180 h 587"/>
              <a:gd name="T26" fmla="*/ 279 w 683"/>
              <a:gd name="T27" fmla="*/ 120 h 587"/>
              <a:gd name="T28" fmla="*/ 378 w 683"/>
              <a:gd name="T29" fmla="*/ 199 h 587"/>
              <a:gd name="T30" fmla="*/ 377 w 683"/>
              <a:gd name="T31" fmla="*/ 229 h 587"/>
              <a:gd name="T32" fmla="*/ 279 w 683"/>
              <a:gd name="T33" fmla="*/ 259 h 587"/>
              <a:gd name="T34" fmla="*/ 279 w 683"/>
              <a:gd name="T35" fmla="*/ 279 h 587"/>
              <a:gd name="T36" fmla="*/ 313 w 683"/>
              <a:gd name="T37" fmla="*/ 339 h 587"/>
              <a:gd name="T38" fmla="*/ 279 w 683"/>
              <a:gd name="T39" fmla="*/ 279 h 587"/>
              <a:gd name="T40" fmla="*/ 279 w 683"/>
              <a:gd name="T41" fmla="*/ 398 h 587"/>
              <a:gd name="T42" fmla="*/ 302 w 683"/>
              <a:gd name="T43" fmla="*/ 358 h 587"/>
              <a:gd name="T44" fmla="*/ 41 w 683"/>
              <a:gd name="T45" fmla="*/ 418 h 587"/>
              <a:gd name="T46" fmla="*/ 140 w 683"/>
              <a:gd name="T47" fmla="*/ 358 h 587"/>
              <a:gd name="T48" fmla="*/ 140 w 683"/>
              <a:gd name="T49" fmla="*/ 339 h 587"/>
              <a:gd name="T50" fmla="*/ 41 w 683"/>
              <a:gd name="T51" fmla="*/ 279 h 587"/>
              <a:gd name="T52" fmla="*/ 140 w 683"/>
              <a:gd name="T53" fmla="*/ 339 h 587"/>
              <a:gd name="T54" fmla="*/ 41 w 683"/>
              <a:gd name="T55" fmla="*/ 259 h 587"/>
              <a:gd name="T56" fmla="*/ 140 w 683"/>
              <a:gd name="T57" fmla="*/ 199 h 587"/>
              <a:gd name="T58" fmla="*/ 140 w 683"/>
              <a:gd name="T59" fmla="*/ 180 h 587"/>
              <a:gd name="T60" fmla="*/ 41 w 683"/>
              <a:gd name="T61" fmla="*/ 120 h 587"/>
              <a:gd name="T62" fmla="*/ 140 w 683"/>
              <a:gd name="T63" fmla="*/ 180 h 587"/>
              <a:gd name="T64" fmla="*/ 161 w 683"/>
              <a:gd name="T65" fmla="*/ 418 h 587"/>
              <a:gd name="T66" fmla="*/ 260 w 683"/>
              <a:gd name="T67" fmla="*/ 358 h 587"/>
              <a:gd name="T68" fmla="*/ 260 w 683"/>
              <a:gd name="T69" fmla="*/ 339 h 587"/>
              <a:gd name="T70" fmla="*/ 161 w 683"/>
              <a:gd name="T71" fmla="*/ 279 h 587"/>
              <a:gd name="T72" fmla="*/ 260 w 683"/>
              <a:gd name="T73" fmla="*/ 339 h 587"/>
              <a:gd name="T74" fmla="*/ 161 w 683"/>
              <a:gd name="T75" fmla="*/ 259 h 587"/>
              <a:gd name="T76" fmla="*/ 260 w 683"/>
              <a:gd name="T77" fmla="*/ 199 h 587"/>
              <a:gd name="T78" fmla="*/ 260 w 683"/>
              <a:gd name="T79" fmla="*/ 180 h 587"/>
              <a:gd name="T80" fmla="*/ 161 w 683"/>
              <a:gd name="T81" fmla="*/ 120 h 587"/>
              <a:gd name="T82" fmla="*/ 260 w 683"/>
              <a:gd name="T83" fmla="*/ 180 h 587"/>
              <a:gd name="T84" fmla="*/ 279 w 683"/>
              <a:gd name="T85" fmla="*/ 41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87">
                <a:moveTo>
                  <a:pt x="582" y="229"/>
                </a:moveTo>
                <a:lnTo>
                  <a:pt x="538" y="229"/>
                </a:lnTo>
                <a:lnTo>
                  <a:pt x="538" y="21"/>
                </a:lnTo>
                <a:cubicBezTo>
                  <a:pt x="538" y="10"/>
                  <a:pt x="528" y="0"/>
                  <a:pt x="517" y="0"/>
                </a:cubicBezTo>
                <a:lnTo>
                  <a:pt x="21" y="0"/>
                </a:lnTo>
                <a:cubicBezTo>
                  <a:pt x="10" y="0"/>
                  <a:pt x="0" y="10"/>
                  <a:pt x="0" y="21"/>
                </a:cubicBezTo>
                <a:lnTo>
                  <a:pt x="0" y="438"/>
                </a:lnTo>
                <a:cubicBezTo>
                  <a:pt x="0" y="449"/>
                  <a:pt x="10" y="459"/>
                  <a:pt x="21" y="459"/>
                </a:cubicBezTo>
                <a:lnTo>
                  <a:pt x="302" y="459"/>
                </a:lnTo>
                <a:lnTo>
                  <a:pt x="376" y="587"/>
                </a:lnTo>
                <a:lnTo>
                  <a:pt x="581" y="587"/>
                </a:lnTo>
                <a:lnTo>
                  <a:pt x="683" y="408"/>
                </a:lnTo>
                <a:lnTo>
                  <a:pt x="582" y="229"/>
                </a:lnTo>
                <a:close/>
                <a:moveTo>
                  <a:pt x="399" y="120"/>
                </a:moveTo>
                <a:lnTo>
                  <a:pt x="498" y="120"/>
                </a:lnTo>
                <a:lnTo>
                  <a:pt x="498" y="180"/>
                </a:lnTo>
                <a:lnTo>
                  <a:pt x="399" y="180"/>
                </a:lnTo>
                <a:lnTo>
                  <a:pt x="399" y="120"/>
                </a:lnTo>
                <a:close/>
                <a:moveTo>
                  <a:pt x="498" y="199"/>
                </a:moveTo>
                <a:lnTo>
                  <a:pt x="498" y="229"/>
                </a:lnTo>
                <a:lnTo>
                  <a:pt x="399" y="229"/>
                </a:lnTo>
                <a:lnTo>
                  <a:pt x="399" y="199"/>
                </a:lnTo>
                <a:lnTo>
                  <a:pt x="498" y="199"/>
                </a:lnTo>
                <a:close/>
                <a:moveTo>
                  <a:pt x="279" y="120"/>
                </a:moveTo>
                <a:lnTo>
                  <a:pt x="378" y="120"/>
                </a:lnTo>
                <a:lnTo>
                  <a:pt x="378" y="180"/>
                </a:lnTo>
                <a:lnTo>
                  <a:pt x="279" y="180"/>
                </a:lnTo>
                <a:lnTo>
                  <a:pt x="279" y="120"/>
                </a:lnTo>
                <a:close/>
                <a:moveTo>
                  <a:pt x="279" y="199"/>
                </a:moveTo>
                <a:lnTo>
                  <a:pt x="378" y="199"/>
                </a:lnTo>
                <a:lnTo>
                  <a:pt x="378" y="229"/>
                </a:lnTo>
                <a:lnTo>
                  <a:pt x="377" y="229"/>
                </a:lnTo>
                <a:lnTo>
                  <a:pt x="359" y="259"/>
                </a:lnTo>
                <a:lnTo>
                  <a:pt x="279" y="259"/>
                </a:lnTo>
                <a:lnTo>
                  <a:pt x="279" y="199"/>
                </a:lnTo>
                <a:close/>
                <a:moveTo>
                  <a:pt x="279" y="279"/>
                </a:moveTo>
                <a:lnTo>
                  <a:pt x="347" y="279"/>
                </a:lnTo>
                <a:lnTo>
                  <a:pt x="313" y="339"/>
                </a:lnTo>
                <a:lnTo>
                  <a:pt x="279" y="339"/>
                </a:lnTo>
                <a:lnTo>
                  <a:pt x="279" y="279"/>
                </a:lnTo>
                <a:close/>
                <a:moveTo>
                  <a:pt x="302" y="358"/>
                </a:moveTo>
                <a:lnTo>
                  <a:pt x="279" y="398"/>
                </a:lnTo>
                <a:lnTo>
                  <a:pt x="279" y="358"/>
                </a:lnTo>
                <a:lnTo>
                  <a:pt x="302" y="358"/>
                </a:lnTo>
                <a:close/>
                <a:moveTo>
                  <a:pt x="140" y="418"/>
                </a:moveTo>
                <a:lnTo>
                  <a:pt x="41" y="418"/>
                </a:lnTo>
                <a:lnTo>
                  <a:pt x="41" y="358"/>
                </a:lnTo>
                <a:lnTo>
                  <a:pt x="140" y="358"/>
                </a:lnTo>
                <a:lnTo>
                  <a:pt x="140" y="418"/>
                </a:lnTo>
                <a:close/>
                <a:moveTo>
                  <a:pt x="140" y="339"/>
                </a:moveTo>
                <a:lnTo>
                  <a:pt x="41" y="339"/>
                </a:lnTo>
                <a:lnTo>
                  <a:pt x="41" y="279"/>
                </a:lnTo>
                <a:lnTo>
                  <a:pt x="140" y="279"/>
                </a:lnTo>
                <a:lnTo>
                  <a:pt x="140" y="339"/>
                </a:lnTo>
                <a:close/>
                <a:moveTo>
                  <a:pt x="140" y="259"/>
                </a:moveTo>
                <a:lnTo>
                  <a:pt x="41" y="259"/>
                </a:lnTo>
                <a:lnTo>
                  <a:pt x="41" y="199"/>
                </a:lnTo>
                <a:lnTo>
                  <a:pt x="140" y="199"/>
                </a:lnTo>
                <a:lnTo>
                  <a:pt x="140" y="259"/>
                </a:lnTo>
                <a:close/>
                <a:moveTo>
                  <a:pt x="140" y="180"/>
                </a:moveTo>
                <a:lnTo>
                  <a:pt x="41" y="180"/>
                </a:lnTo>
                <a:lnTo>
                  <a:pt x="41" y="120"/>
                </a:lnTo>
                <a:lnTo>
                  <a:pt x="140" y="120"/>
                </a:lnTo>
                <a:lnTo>
                  <a:pt x="140" y="180"/>
                </a:lnTo>
                <a:close/>
                <a:moveTo>
                  <a:pt x="260" y="418"/>
                </a:moveTo>
                <a:lnTo>
                  <a:pt x="161" y="418"/>
                </a:lnTo>
                <a:lnTo>
                  <a:pt x="161" y="358"/>
                </a:lnTo>
                <a:lnTo>
                  <a:pt x="260" y="358"/>
                </a:lnTo>
                <a:lnTo>
                  <a:pt x="260" y="418"/>
                </a:lnTo>
                <a:close/>
                <a:moveTo>
                  <a:pt x="260" y="339"/>
                </a:moveTo>
                <a:lnTo>
                  <a:pt x="161" y="339"/>
                </a:lnTo>
                <a:lnTo>
                  <a:pt x="161" y="279"/>
                </a:lnTo>
                <a:lnTo>
                  <a:pt x="260" y="279"/>
                </a:lnTo>
                <a:lnTo>
                  <a:pt x="260" y="339"/>
                </a:lnTo>
                <a:close/>
                <a:moveTo>
                  <a:pt x="260" y="259"/>
                </a:moveTo>
                <a:lnTo>
                  <a:pt x="161" y="259"/>
                </a:lnTo>
                <a:lnTo>
                  <a:pt x="161" y="199"/>
                </a:lnTo>
                <a:lnTo>
                  <a:pt x="260" y="199"/>
                </a:lnTo>
                <a:lnTo>
                  <a:pt x="260" y="259"/>
                </a:lnTo>
                <a:close/>
                <a:moveTo>
                  <a:pt x="260" y="180"/>
                </a:moveTo>
                <a:lnTo>
                  <a:pt x="161" y="180"/>
                </a:lnTo>
                <a:lnTo>
                  <a:pt x="161" y="120"/>
                </a:lnTo>
                <a:lnTo>
                  <a:pt x="260" y="120"/>
                </a:lnTo>
                <a:lnTo>
                  <a:pt x="260" y="180"/>
                </a:lnTo>
                <a:close/>
                <a:moveTo>
                  <a:pt x="279" y="418"/>
                </a:moveTo>
                <a:lnTo>
                  <a:pt x="279" y="417"/>
                </a:lnTo>
                <a:lnTo>
                  <a:pt x="279" y="418"/>
                </a:lnTo>
                <a:close/>
              </a:path>
            </a:pathLst>
          </a:custGeom>
          <a:solidFill>
            <a:srgbClr val="0072C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17"/>
          <p:cNvSpPr/>
          <p:nvPr/>
        </p:nvSpPr>
        <p:spPr>
          <a:xfrm>
            <a:off x="9952037" y="1744662"/>
            <a:ext cx="1905220" cy="1200329"/>
          </a:xfrm>
          <a:prstGeom prst="rect">
            <a:avLst/>
          </a:prstGeom>
        </p:spPr>
        <p:txBody>
          <a:bodyPr wrap="square">
            <a:spAutoFit/>
          </a:bodyPr>
          <a:lstStyle/>
          <a:p>
            <a:pPr defTabSz="699174"/>
            <a:r>
              <a:rPr lang="en-US" dirty="0"/>
              <a:t>Native support for SQL Server data files stored as Azure blobs</a:t>
            </a:r>
          </a:p>
        </p:txBody>
      </p:sp>
      <p:sp>
        <p:nvSpPr>
          <p:cNvPr id="75" name="Content Placeholder 2"/>
          <p:cNvSpPr txBox="1">
            <a:spLocks/>
          </p:cNvSpPr>
          <p:nvPr/>
        </p:nvSpPr>
        <p:spPr bwMode="auto">
          <a:xfrm>
            <a:off x="364748" y="4318486"/>
            <a:ext cx="7280958" cy="2481616"/>
          </a:xfrm>
          <a:prstGeom prst="rect">
            <a:avLst/>
          </a:prstGeom>
          <a:solidFill>
            <a:srgbClr val="FFFFFF">
              <a:lumMod val="95000"/>
            </a:srgbClr>
          </a:solidFill>
          <a:ln w="63500">
            <a:solidFill>
              <a:srgbClr val="0072C6"/>
            </a:solidFill>
            <a:miter lim="800000"/>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rmAutofit lnSpcReduction="10000"/>
          </a:bodyPr>
          <a:lstStyle>
            <a:lvl1pPr marL="0" indent="0" algn="l" defTabSz="373039" rtl="0" fontAlgn="base">
              <a:lnSpc>
                <a:spcPct val="100000"/>
              </a:lnSpc>
              <a:spcBef>
                <a:spcPts val="0"/>
              </a:spcBef>
              <a:spcAft>
                <a:spcPct val="0"/>
              </a:spcAft>
              <a:buClr>
                <a:schemeClr val="tx1"/>
              </a:buClr>
              <a:buSzPct val="90000"/>
              <a:buFont typeface="Wingdings" pitchFamily="2" charset="2"/>
              <a:buNone/>
              <a:defRPr sz="1836" kern="1200" baseline="0">
                <a:solidFill>
                  <a:schemeClr val="tx1"/>
                </a:solidFill>
                <a:latin typeface="Consolas" panose="020B0609020204030204" pitchFamily="49" charset="0"/>
                <a:ea typeface="ＭＳ Ｐゴシック" charset="0"/>
                <a:cs typeface="Consolas" panose="020B0609020204030204" pitchFamily="49" charset="0"/>
              </a:defRPr>
            </a:lvl1pPr>
            <a:lvl2pPr marL="373039"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2pPr>
            <a:lvl3pPr marL="746077"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3pPr>
            <a:lvl4pPr marL="1119116"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4pPr>
            <a:lvl5pPr marL="1492154"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03" fontAlgn="auto">
              <a:spcAft>
                <a:spcPts val="0"/>
              </a:spcAft>
            </a:pPr>
            <a:r>
              <a:rPr lang="en-US" sz="1400" dirty="0">
                <a:solidFill>
                  <a:srgbClr val="0000FF"/>
                </a:solidFill>
              </a:rPr>
              <a:t>CREATE</a:t>
            </a:r>
            <a:r>
              <a:rPr lang="en-US" sz="1400" dirty="0">
                <a:solidFill>
                  <a:prstClr val="black"/>
                </a:solidFill>
              </a:rPr>
              <a:t> </a:t>
            </a:r>
            <a:r>
              <a:rPr lang="en-US" sz="1400" dirty="0">
                <a:solidFill>
                  <a:srgbClr val="0000FF"/>
                </a:solidFill>
              </a:rPr>
              <a:t>CREDENTIAL</a:t>
            </a:r>
            <a:r>
              <a:rPr lang="en-US" sz="1400" dirty="0">
                <a:solidFill>
                  <a:prstClr val="black"/>
                </a:solidFill>
              </a:rPr>
              <a:t> </a:t>
            </a:r>
            <a:r>
              <a:rPr lang="en-US" sz="1400" dirty="0">
                <a:solidFill>
                  <a:srgbClr val="00B050"/>
                </a:solidFill>
              </a:rPr>
              <a:t>[https://mystorage.blog.core.windows.net/data]</a:t>
            </a:r>
          </a:p>
          <a:p>
            <a:pPr defTabSz="699203" fontAlgn="auto">
              <a:spcAft>
                <a:spcPts val="0"/>
              </a:spcAft>
            </a:pPr>
            <a:r>
              <a:rPr lang="en-US" sz="1400" dirty="0">
                <a:solidFill>
                  <a:srgbClr val="0000FF"/>
                </a:solidFill>
              </a:rPr>
              <a:t>WITH</a:t>
            </a:r>
            <a:r>
              <a:rPr lang="en-US" sz="1400" dirty="0">
                <a:solidFill>
                  <a:prstClr val="black"/>
                </a:solidFill>
              </a:rPr>
              <a:t> </a:t>
            </a:r>
            <a:r>
              <a:rPr lang="en-US" sz="1400" dirty="0">
                <a:solidFill>
                  <a:srgbClr val="0000FF"/>
                </a:solidFill>
              </a:rPr>
              <a:t>IDENTITY</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Shared Access Signature'</a:t>
            </a:r>
            <a:r>
              <a:rPr lang="en-US" sz="1400" dirty="0">
                <a:solidFill>
                  <a:srgbClr val="808080"/>
                </a:solidFill>
              </a:rPr>
              <a:t>,</a:t>
            </a:r>
            <a:endParaRPr lang="en-US" sz="1400" dirty="0">
              <a:solidFill>
                <a:prstClr val="black"/>
              </a:solidFill>
            </a:endParaRPr>
          </a:p>
          <a:p>
            <a:pPr defTabSz="699203" fontAlgn="auto">
              <a:spcAft>
                <a:spcPts val="0"/>
              </a:spcAft>
            </a:pPr>
            <a:r>
              <a:rPr lang="en-US" sz="1400" dirty="0">
                <a:solidFill>
                  <a:srgbClr val="0000FF"/>
                </a:solidFill>
              </a:rPr>
              <a:t>SECRET</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lt;your SAS key&gt;</a:t>
            </a:r>
            <a:endParaRPr lang="en-US" sz="1400" dirty="0">
              <a:solidFill>
                <a:prstClr val="black"/>
              </a:solidFill>
            </a:endParaRPr>
          </a:p>
          <a:p>
            <a:pPr defTabSz="699203" fontAlgn="auto">
              <a:spcAft>
                <a:spcPts val="0"/>
              </a:spcAft>
            </a:pPr>
            <a:r>
              <a:rPr lang="en-US" sz="1400" dirty="0">
                <a:solidFill>
                  <a:srgbClr val="FF0000"/>
                </a:solidFill>
              </a:rPr>
              <a:t>  </a:t>
            </a:r>
            <a:endParaRPr lang="en-US" sz="1400" dirty="0">
              <a:solidFill>
                <a:prstClr val="black"/>
              </a:solidFill>
            </a:endParaRPr>
          </a:p>
          <a:p>
            <a:pPr defTabSz="699203" fontAlgn="auto">
              <a:spcAft>
                <a:spcPts val="0"/>
              </a:spcAft>
            </a:pPr>
            <a:r>
              <a:rPr lang="en-US" sz="1400" dirty="0">
                <a:solidFill>
                  <a:srgbClr val="0000FF"/>
                </a:solidFill>
              </a:rPr>
              <a:t>CREATE DATABASE</a:t>
            </a:r>
            <a:r>
              <a:rPr lang="en-US" sz="1400" dirty="0">
                <a:solidFill>
                  <a:prstClr val="black"/>
                </a:solidFill>
              </a:rPr>
              <a:t> </a:t>
            </a:r>
            <a:r>
              <a:rPr lang="en-US" sz="1400" dirty="0">
                <a:solidFill>
                  <a:srgbClr val="00B050"/>
                </a:solidFill>
              </a:rPr>
              <a:t>mydb </a:t>
            </a:r>
            <a:r>
              <a:rPr lang="en-US" sz="1400" dirty="0">
                <a:solidFill>
                  <a:srgbClr val="0000FF"/>
                </a:solidFill>
              </a:rPr>
              <a:t>ON</a:t>
            </a:r>
          </a:p>
          <a:p>
            <a:r>
              <a:rPr lang="en-US" sz="1400" dirty="0">
                <a:solidFill>
                  <a:srgbClr val="808080"/>
                </a:solidFill>
              </a:rPr>
              <a:t>(</a:t>
            </a:r>
            <a:r>
              <a:rPr lang="en-US" sz="1400" dirty="0">
                <a:solidFill>
                  <a:prstClr val="black"/>
                </a:solidFill>
              </a:rPr>
              <a:t> NAME </a:t>
            </a:r>
            <a:r>
              <a:rPr lang="en-US" sz="1400" dirty="0">
                <a:solidFill>
                  <a:srgbClr val="808080"/>
                </a:solidFill>
              </a:rPr>
              <a:t>=</a:t>
            </a:r>
            <a:r>
              <a:rPr lang="en-US" sz="1400" dirty="0">
                <a:solidFill>
                  <a:prstClr val="black"/>
                </a:solidFill>
              </a:rPr>
              <a:t> mydb_dat</a:t>
            </a:r>
            <a:r>
              <a:rPr lang="en-US" sz="1400" dirty="0">
                <a:solidFill>
                  <a:srgbClr val="808080"/>
                </a:solidFill>
              </a:rPr>
              <a:t>,</a:t>
            </a:r>
            <a:endParaRPr lang="en-US" sz="1400" dirty="0">
              <a:solidFill>
                <a:prstClr val="black"/>
              </a:solidFill>
            </a:endParaRPr>
          </a:p>
          <a:p>
            <a:r>
              <a:rPr lang="en-US" sz="1400" dirty="0">
                <a:solidFill>
                  <a:prstClr val="black"/>
                </a:solidFill>
              </a:rPr>
              <a:t>  </a:t>
            </a:r>
            <a:r>
              <a:rPr lang="en-US" sz="1400" dirty="0">
                <a:solidFill>
                  <a:srgbClr val="0000FF"/>
                </a:solidFill>
              </a:rPr>
              <a:t>FILENAME</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https://mystorage.blob.core.windows.net/data/mydb.mdf'</a:t>
            </a:r>
            <a:r>
              <a:rPr lang="en-US" sz="1400" dirty="0">
                <a:solidFill>
                  <a:prstClr val="black"/>
                </a:solidFill>
              </a:rPr>
              <a:t> </a:t>
            </a:r>
            <a:r>
              <a:rPr lang="en-US" sz="1400" dirty="0">
                <a:solidFill>
                  <a:srgbClr val="808080"/>
                </a:solidFill>
              </a:rPr>
              <a:t>)</a:t>
            </a:r>
            <a:endParaRPr lang="en-US" sz="1400" dirty="0">
              <a:solidFill>
                <a:prstClr val="black"/>
              </a:solidFill>
            </a:endParaRPr>
          </a:p>
          <a:p>
            <a:r>
              <a:rPr lang="en-US" sz="1400" dirty="0">
                <a:solidFill>
                  <a:srgbClr val="FF00FF"/>
                </a:solidFill>
              </a:rPr>
              <a:t>LOG</a:t>
            </a:r>
            <a:r>
              <a:rPr lang="en-US" sz="1400" dirty="0">
                <a:solidFill>
                  <a:prstClr val="black"/>
                </a:solidFill>
              </a:rPr>
              <a:t> </a:t>
            </a:r>
            <a:r>
              <a:rPr lang="en-US" sz="1400" dirty="0">
                <a:solidFill>
                  <a:srgbClr val="0000FF"/>
                </a:solidFill>
              </a:rPr>
              <a:t>ON</a:t>
            </a:r>
            <a:endParaRPr lang="en-US" sz="1400" dirty="0">
              <a:solidFill>
                <a:prstClr val="black"/>
              </a:solidFill>
            </a:endParaRPr>
          </a:p>
          <a:p>
            <a:r>
              <a:rPr lang="en-US" sz="1400" dirty="0">
                <a:solidFill>
                  <a:srgbClr val="0000FF"/>
                </a:solidFill>
              </a:rPr>
              <a:t> </a:t>
            </a:r>
            <a:r>
              <a:rPr lang="en-US" sz="1400" dirty="0">
                <a:solidFill>
                  <a:srgbClr val="808080"/>
                </a:solidFill>
              </a:rPr>
              <a:t>(</a:t>
            </a:r>
            <a:r>
              <a:rPr lang="en-US" sz="1400" dirty="0">
                <a:solidFill>
                  <a:prstClr val="black"/>
                </a:solidFill>
              </a:rPr>
              <a:t> NAME </a:t>
            </a:r>
            <a:r>
              <a:rPr lang="en-US" sz="1400" dirty="0">
                <a:solidFill>
                  <a:srgbClr val="808080"/>
                </a:solidFill>
              </a:rPr>
              <a:t>=</a:t>
            </a:r>
            <a:r>
              <a:rPr lang="en-US" sz="1400" dirty="0">
                <a:solidFill>
                  <a:prstClr val="black"/>
                </a:solidFill>
              </a:rPr>
              <a:t> foo_log</a:t>
            </a:r>
            <a:r>
              <a:rPr lang="en-US" sz="1400" dirty="0">
                <a:solidFill>
                  <a:srgbClr val="808080"/>
                </a:solidFill>
              </a:rPr>
              <a:t>,</a:t>
            </a:r>
            <a:endParaRPr lang="en-US" sz="1400" dirty="0">
              <a:solidFill>
                <a:prstClr val="black"/>
              </a:solidFill>
            </a:endParaRPr>
          </a:p>
          <a:p>
            <a:r>
              <a:rPr lang="en-US" sz="1400" dirty="0">
                <a:solidFill>
                  <a:prstClr val="black"/>
                </a:solidFill>
              </a:rPr>
              <a:t>   </a:t>
            </a:r>
            <a:r>
              <a:rPr lang="en-US" sz="1400" dirty="0">
                <a:solidFill>
                  <a:srgbClr val="0000FF"/>
                </a:solidFill>
              </a:rPr>
              <a:t>FILENAME</a:t>
            </a:r>
            <a:r>
              <a:rPr lang="en-US" sz="1400" dirty="0">
                <a:solidFill>
                  <a:prstClr val="black"/>
                </a:solidFill>
              </a:rPr>
              <a:t> </a:t>
            </a:r>
            <a:r>
              <a:rPr lang="en-US" sz="1400" dirty="0">
                <a:solidFill>
                  <a:srgbClr val="808080"/>
                </a:solidFill>
              </a:rPr>
              <a:t>=</a:t>
            </a:r>
            <a:r>
              <a:rPr lang="en-US" sz="1400" dirty="0">
                <a:solidFill>
                  <a:prstClr val="black"/>
                </a:solidFill>
              </a:rPr>
              <a:t> </a:t>
            </a:r>
            <a:r>
              <a:rPr lang="en-US" sz="1400" dirty="0">
                <a:solidFill>
                  <a:srgbClr val="FF0000"/>
                </a:solidFill>
              </a:rPr>
              <a:t>'https://mystorage.blob.core.windows.net/data/mydblog.ldf'</a:t>
            </a:r>
            <a:r>
              <a:rPr lang="en-US" sz="1400" dirty="0">
                <a:solidFill>
                  <a:srgbClr val="808080"/>
                </a:solidFill>
              </a:rPr>
              <a:t>)</a:t>
            </a:r>
            <a:endParaRPr lang="en-US" sz="1400" dirty="0">
              <a:solidFill>
                <a:prstClr val="black"/>
              </a:solidFill>
            </a:endParaRPr>
          </a:p>
        </p:txBody>
      </p:sp>
      <p:sp>
        <p:nvSpPr>
          <p:cNvPr id="21" name="Rectangle 20"/>
          <p:cNvSpPr/>
          <p:nvPr/>
        </p:nvSpPr>
        <p:spPr bwMode="auto">
          <a:xfrm>
            <a:off x="7844271" y="4298288"/>
            <a:ext cx="4230216" cy="250408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475503" fontAlgn="auto">
              <a:spcBef>
                <a:spcPts val="600"/>
              </a:spcBef>
              <a:spcAft>
                <a:spcPts val="0"/>
              </a:spcAft>
              <a:defRPr/>
            </a:pPr>
            <a:r>
              <a:rPr lang="en-US" kern="0" dirty="0">
                <a:solidFill>
                  <a:srgbClr val="FFFFFF"/>
                </a:solidFill>
              </a:rPr>
              <a:t>Separation of compute and storage</a:t>
            </a:r>
          </a:p>
          <a:p>
            <a:pPr defTabSz="475503" fontAlgn="auto">
              <a:spcBef>
                <a:spcPts val="600"/>
              </a:spcBef>
              <a:spcAft>
                <a:spcPts val="0"/>
              </a:spcAft>
              <a:defRPr/>
            </a:pPr>
            <a:r>
              <a:rPr lang="en-US" kern="0" dirty="0">
                <a:solidFill>
                  <a:srgbClr val="FFFFFF"/>
                </a:solidFill>
              </a:rPr>
              <a:t>Database migration to other machines</a:t>
            </a:r>
          </a:p>
          <a:p>
            <a:pPr defTabSz="475503" fontAlgn="auto">
              <a:spcBef>
                <a:spcPts val="600"/>
              </a:spcBef>
              <a:spcAft>
                <a:spcPts val="0"/>
              </a:spcAft>
              <a:defRPr/>
            </a:pPr>
            <a:r>
              <a:rPr lang="en-US" kern="0" dirty="0">
                <a:solidFill>
                  <a:srgbClr val="FFFFFF"/>
                </a:solidFill>
              </a:rPr>
              <a:t>Basic disaster recovery</a:t>
            </a:r>
          </a:p>
          <a:p>
            <a:pPr defTabSz="475503" fontAlgn="auto">
              <a:spcBef>
                <a:spcPts val="600"/>
              </a:spcBef>
              <a:spcAft>
                <a:spcPts val="0"/>
              </a:spcAft>
              <a:defRPr/>
            </a:pPr>
            <a:r>
              <a:rPr lang="en-US" kern="0" dirty="0">
                <a:solidFill>
                  <a:srgbClr val="FFFFFF"/>
                </a:solidFill>
              </a:rPr>
              <a:t>Increased storage on Azure Virtual </a:t>
            </a:r>
            <a:r>
              <a:rPr lang="en-US" kern="0" dirty="0" smtClean="0">
                <a:solidFill>
                  <a:srgbClr val="FFFFFF"/>
                </a:solidFill>
              </a:rPr>
              <a:t>Machines</a:t>
            </a:r>
          </a:p>
        </p:txBody>
      </p:sp>
      <p:sp>
        <p:nvSpPr>
          <p:cNvPr id="22" name="Rectangle 21"/>
          <p:cNvSpPr/>
          <p:nvPr/>
        </p:nvSpPr>
        <p:spPr>
          <a:xfrm>
            <a:off x="402690" y="1734420"/>
            <a:ext cx="2936736" cy="2139047"/>
          </a:xfrm>
          <a:prstGeom prst="rect">
            <a:avLst/>
          </a:prstGeom>
        </p:spPr>
        <p:txBody>
          <a:bodyPr wrap="square">
            <a:spAutoFit/>
          </a:bodyPr>
          <a:lstStyle/>
          <a:p>
            <a:pPr defTabSz="475503" fontAlgn="auto">
              <a:spcBef>
                <a:spcPts val="600"/>
              </a:spcBef>
              <a:spcAft>
                <a:spcPts val="0"/>
              </a:spcAft>
              <a:defRPr/>
            </a:pPr>
            <a:r>
              <a:rPr lang="en-US" kern="0" dirty="0"/>
              <a:t>Near </a:t>
            </a:r>
            <a:r>
              <a:rPr lang="en-US" kern="0" dirty="0" smtClean="0"/>
              <a:t>“bottomless</a:t>
            </a:r>
            <a:r>
              <a:rPr lang="en-US" kern="0" dirty="0"/>
              <a:t>” storage</a:t>
            </a:r>
          </a:p>
          <a:p>
            <a:pPr defTabSz="475503" fontAlgn="auto">
              <a:spcBef>
                <a:spcPts val="600"/>
              </a:spcBef>
              <a:spcAft>
                <a:spcPts val="0"/>
              </a:spcAft>
              <a:defRPr/>
            </a:pPr>
            <a:r>
              <a:rPr lang="en-US" kern="0" dirty="0" smtClean="0"/>
              <a:t>Off-site</a:t>
            </a:r>
            <a:r>
              <a:rPr lang="en-US" kern="0" dirty="0"/>
              <a:t>, geo-redundant</a:t>
            </a:r>
          </a:p>
          <a:p>
            <a:pPr defTabSz="475503" fontAlgn="auto">
              <a:spcBef>
                <a:spcPts val="600"/>
              </a:spcBef>
              <a:spcAft>
                <a:spcPts val="0"/>
              </a:spcAft>
              <a:defRPr/>
            </a:pPr>
            <a:r>
              <a:rPr lang="en-US" kern="0" dirty="0"/>
              <a:t>No provisioning</a:t>
            </a:r>
          </a:p>
          <a:p>
            <a:pPr defTabSz="475503" fontAlgn="auto">
              <a:spcBef>
                <a:spcPts val="600"/>
              </a:spcBef>
              <a:spcAft>
                <a:spcPts val="0"/>
              </a:spcAft>
              <a:defRPr/>
            </a:pPr>
            <a:r>
              <a:rPr lang="en-US" kern="0" dirty="0"/>
              <a:t>No device management</a:t>
            </a:r>
          </a:p>
          <a:p>
            <a:pPr defTabSz="475503" fontAlgn="auto">
              <a:spcBef>
                <a:spcPts val="600"/>
              </a:spcBef>
              <a:spcAft>
                <a:spcPts val="0"/>
              </a:spcAft>
              <a:defRPr/>
            </a:pPr>
            <a:r>
              <a:rPr lang="en-US" kern="0" dirty="0"/>
              <a:t>Media safety (decay free)</a:t>
            </a:r>
          </a:p>
          <a:p>
            <a:pPr defTabSz="475503" fontAlgn="auto">
              <a:spcBef>
                <a:spcPts val="600"/>
              </a:spcBef>
              <a:spcAft>
                <a:spcPts val="0"/>
              </a:spcAft>
              <a:defRPr/>
            </a:pPr>
            <a:r>
              <a:rPr lang="en-US" kern="0" dirty="0"/>
              <a:t>Remote accessibility </a:t>
            </a:r>
          </a:p>
        </p:txBody>
      </p:sp>
      <p:grpSp>
        <p:nvGrpSpPr>
          <p:cNvPr id="82" name="Group 81"/>
          <p:cNvGrpSpPr/>
          <p:nvPr/>
        </p:nvGrpSpPr>
        <p:grpSpPr>
          <a:xfrm>
            <a:off x="5538761" y="1405040"/>
            <a:ext cx="576454" cy="772336"/>
            <a:chOff x="4682563" y="2277429"/>
            <a:chExt cx="645039" cy="864227"/>
          </a:xfrm>
          <a:solidFill>
            <a:srgbClr val="0072C6"/>
          </a:solidFill>
        </p:grpSpPr>
        <p:grpSp>
          <p:nvGrpSpPr>
            <p:cNvPr id="83" name="Group 21"/>
            <p:cNvGrpSpPr>
              <a:grpSpLocks noChangeAspect="1"/>
            </p:cNvGrpSpPr>
            <p:nvPr/>
          </p:nvGrpSpPr>
          <p:grpSpPr bwMode="auto">
            <a:xfrm>
              <a:off x="4682563" y="2277429"/>
              <a:ext cx="645039" cy="864227"/>
              <a:chOff x="966" y="2128"/>
              <a:chExt cx="206" cy="276"/>
            </a:xfrm>
            <a:grpFill/>
          </p:grpSpPr>
          <p:sp>
            <p:nvSpPr>
              <p:cNvPr id="85"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4" name="Rectangle 83"/>
            <p:cNvSpPr/>
            <p:nvPr/>
          </p:nvSpPr>
          <p:spPr>
            <a:xfrm>
              <a:off x="4773288" y="2860790"/>
              <a:ext cx="463589" cy="276999"/>
            </a:xfrm>
            <a:prstGeom prst="rect">
              <a:avLst/>
            </a:prstGeom>
            <a:grpFill/>
          </p:spPr>
          <p:txBody>
            <a:bodyPr wrap="none">
              <a:spAutoFit/>
            </a:bodyPr>
            <a:lstStyle/>
            <a:p>
              <a:pPr algn="ctr" defTabSz="466135" fontAlgn="auto">
                <a:spcBef>
                  <a:spcPts val="0"/>
                </a:spcBef>
                <a:spcAft>
                  <a:spcPts val="0"/>
                </a:spcAft>
                <a:defRPr/>
              </a:pPr>
              <a:r>
                <a:rPr lang="en-US" sz="1200" kern="0" dirty="0" smtClean="0">
                  <a:solidFill>
                    <a:srgbClr val="FFFFFF"/>
                  </a:solidFill>
                </a:rPr>
                <a:t>DB3</a:t>
              </a:r>
              <a:endParaRPr lang="en-US" sz="1200" kern="0" dirty="0">
                <a:solidFill>
                  <a:srgbClr val="FFFFFF"/>
                </a:solidFill>
              </a:endParaRPr>
            </a:p>
          </p:txBody>
        </p:sp>
      </p:grpSp>
      <p:grpSp>
        <p:nvGrpSpPr>
          <p:cNvPr id="87" name="Group 86"/>
          <p:cNvGrpSpPr/>
          <p:nvPr/>
        </p:nvGrpSpPr>
        <p:grpSpPr>
          <a:xfrm>
            <a:off x="5514342" y="2990652"/>
            <a:ext cx="576454" cy="775147"/>
            <a:chOff x="4682563" y="4156831"/>
            <a:chExt cx="645039" cy="867372"/>
          </a:xfrm>
          <a:solidFill>
            <a:srgbClr val="0072C6"/>
          </a:solidFill>
        </p:grpSpPr>
        <p:grpSp>
          <p:nvGrpSpPr>
            <p:cNvPr id="88" name="Group 21"/>
            <p:cNvGrpSpPr>
              <a:grpSpLocks noChangeAspect="1"/>
            </p:cNvGrpSpPr>
            <p:nvPr/>
          </p:nvGrpSpPr>
          <p:grpSpPr bwMode="auto">
            <a:xfrm>
              <a:off x="4682563" y="4156831"/>
              <a:ext cx="645039" cy="864227"/>
              <a:chOff x="966" y="2128"/>
              <a:chExt cx="206" cy="276"/>
            </a:xfrm>
            <a:grpFill/>
          </p:grpSpPr>
          <p:sp>
            <p:nvSpPr>
              <p:cNvPr id="90"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9" name="Rectangle 88"/>
            <p:cNvSpPr/>
            <p:nvPr/>
          </p:nvSpPr>
          <p:spPr>
            <a:xfrm>
              <a:off x="4773288" y="4747204"/>
              <a:ext cx="463589" cy="276999"/>
            </a:xfrm>
            <a:prstGeom prst="rect">
              <a:avLst/>
            </a:prstGeom>
            <a:grpFill/>
          </p:spPr>
          <p:txBody>
            <a:bodyPr wrap="none">
              <a:spAutoFit/>
            </a:bodyPr>
            <a:lstStyle/>
            <a:p>
              <a:pPr algn="ctr" defTabSz="466135" fontAlgn="auto">
                <a:spcBef>
                  <a:spcPts val="0"/>
                </a:spcBef>
                <a:spcAft>
                  <a:spcPts val="0"/>
                </a:spcAft>
                <a:defRPr/>
              </a:pPr>
              <a:r>
                <a:rPr lang="en-US" sz="1200" kern="0" dirty="0" smtClean="0">
                  <a:solidFill>
                    <a:srgbClr val="FFFFFF"/>
                  </a:solidFill>
                </a:rPr>
                <a:t>DB6</a:t>
              </a:r>
              <a:endParaRPr lang="en-US" sz="1200" kern="0" dirty="0">
                <a:solidFill>
                  <a:srgbClr val="FFFFFF"/>
                </a:solidFill>
              </a:endParaRPr>
            </a:p>
          </p:txBody>
        </p:sp>
      </p:grpSp>
      <p:sp>
        <p:nvSpPr>
          <p:cNvPr id="71" name="Rectangle 70"/>
          <p:cNvSpPr/>
          <p:nvPr/>
        </p:nvSpPr>
        <p:spPr>
          <a:xfrm>
            <a:off x="373944" y="1077948"/>
            <a:ext cx="10730935" cy="461665"/>
          </a:xfrm>
          <a:prstGeom prst="rect">
            <a:avLst/>
          </a:prstGeom>
        </p:spPr>
        <p:txBody>
          <a:bodyPr wrap="square">
            <a:spAutoFit/>
          </a:bodyPr>
          <a:lstStyle/>
          <a:p>
            <a:r>
              <a:rPr lang="en-US" sz="2400" dirty="0">
                <a:solidFill>
                  <a:srgbClr val="002060"/>
                </a:solidFill>
                <a:latin typeface="Segoe UI Light"/>
              </a:rPr>
              <a:t>SQL Server 2014</a:t>
            </a:r>
          </a:p>
        </p:txBody>
      </p:sp>
    </p:spTree>
    <p:extLst>
      <p:ext uri="{BB962C8B-B14F-4D97-AF65-F5344CB8AC3E}">
        <p14:creationId xmlns:p14="http://schemas.microsoft.com/office/powerpoint/2010/main" val="526858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96222E-6 -2.57376E-6 L 0.26359 -0.12051 " pathEditMode="relative" rAng="0" ptsTypes="AA">
                                      <p:cBhvr>
                                        <p:cTn id="6" dur="2000" fill="hold"/>
                                        <p:tgtEl>
                                          <p:spTgt spid="16"/>
                                        </p:tgtEl>
                                        <p:attrNameLst>
                                          <p:attrName>ppt_x</p:attrName>
                                          <p:attrName>ppt_y</p:attrName>
                                        </p:attrNameLst>
                                      </p:cBhvr>
                                      <p:rCtr x="13173" y="-6037"/>
                                    </p:animMotion>
                                  </p:childTnLst>
                                </p:cTn>
                              </p:par>
                              <p:par>
                                <p:cTn id="7" presetID="42" presetClass="path" presetSubtype="0" accel="50000" decel="50000" fill="hold" nodeType="withEffect">
                                  <p:stCondLst>
                                    <p:cond delay="0"/>
                                  </p:stCondLst>
                                  <p:childTnLst>
                                    <p:animMotion origin="layout" path="M -3.11973E-6 2.43759E-6 L 0.18739 0.10644 " pathEditMode="relative" rAng="0" ptsTypes="AA">
                                      <p:cBhvr>
                                        <p:cTn id="8" dur="2000" fill="hold"/>
                                        <p:tgtEl>
                                          <p:spTgt spid="15"/>
                                        </p:tgtEl>
                                        <p:attrNameLst>
                                          <p:attrName>ppt_x</p:attrName>
                                          <p:attrName>ppt_y</p:attrName>
                                        </p:attrNameLst>
                                      </p:cBhvr>
                                      <p:rCtr x="9369" y="5311"/>
                                    </p:animMotion>
                                  </p:childTnLst>
                                </p:cTn>
                              </p:par>
                              <p:par>
                                <p:cTn id="9" presetID="10" presetClass="exit" presetSubtype="0" fill="hold" grpId="0" nodeType="withEffect">
                                  <p:stCondLst>
                                    <p:cond delay="0"/>
                                  </p:stCondLst>
                                  <p:childTnLst>
                                    <p:animEffect transition="out" filter="fade">
                                      <p:cBhvr>
                                        <p:cTn id="10" dur="500"/>
                                        <p:tgtEl>
                                          <p:spTgt spid="74"/>
                                        </p:tgtEl>
                                      </p:cBhvr>
                                    </p:animEffect>
                                    <p:set>
                                      <p:cBhvr>
                                        <p:cTn id="11" dur="1" fill="hold">
                                          <p:stCondLst>
                                            <p:cond delay="499"/>
                                          </p:stCondLst>
                                        </p:cTn>
                                        <p:tgtEl>
                                          <p:spTgt spid="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Arrow Connector 49"/>
          <p:cNvCxnSpPr/>
          <p:nvPr/>
        </p:nvCxnSpPr>
        <p:spPr>
          <a:xfrm flipV="1">
            <a:off x="2994420" y="4173349"/>
            <a:ext cx="2" cy="941495"/>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Freeform 39"/>
          <p:cNvSpPr/>
          <p:nvPr/>
        </p:nvSpPr>
        <p:spPr bwMode="auto">
          <a:xfrm>
            <a:off x="5227542" y="1666700"/>
            <a:ext cx="4595319" cy="288286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349" h="545581">
                <a:moveTo>
                  <a:pt x="490507" y="0"/>
                </a:moveTo>
                <a:cubicBezTo>
                  <a:pt x="636654" y="0"/>
                  <a:pt x="755129" y="118475"/>
                  <a:pt x="755129" y="264622"/>
                </a:cubicBezTo>
                <a:lnTo>
                  <a:pt x="753041" y="285331"/>
                </a:lnTo>
                <a:lnTo>
                  <a:pt x="798544" y="294518"/>
                </a:lnTo>
                <a:cubicBezTo>
                  <a:pt x="845442" y="314354"/>
                  <a:pt x="878349" y="360792"/>
                  <a:pt x="878349" y="414915"/>
                </a:cubicBezTo>
                <a:cubicBezTo>
                  <a:pt x="878349" y="469039"/>
                  <a:pt x="845442" y="515477"/>
                  <a:pt x="798544" y="535313"/>
                </a:cubicBezTo>
                <a:lnTo>
                  <a:pt x="759827" y="543129"/>
                </a:lnTo>
                <a:lnTo>
                  <a:pt x="753908" y="545581"/>
                </a:lnTo>
                <a:lnTo>
                  <a:pt x="747683" y="545581"/>
                </a:lnTo>
                <a:lnTo>
                  <a:pt x="190471" y="545581"/>
                </a:lnTo>
                <a:lnTo>
                  <a:pt x="166602" y="545581"/>
                </a:lnTo>
                <a:lnTo>
                  <a:pt x="158924" y="542401"/>
                </a:lnTo>
                <a:lnTo>
                  <a:pt x="152084" y="541712"/>
                </a:lnTo>
                <a:cubicBezTo>
                  <a:pt x="65290" y="523951"/>
                  <a:pt x="0" y="447155"/>
                  <a:pt x="0" y="355110"/>
                </a:cubicBezTo>
                <a:cubicBezTo>
                  <a:pt x="0" y="249916"/>
                  <a:pt x="85277" y="164639"/>
                  <a:pt x="190471" y="164639"/>
                </a:cubicBezTo>
                <a:cubicBezTo>
                  <a:pt x="203620" y="164639"/>
                  <a:pt x="216458" y="165972"/>
                  <a:pt x="228858" y="168509"/>
                </a:cubicBezTo>
                <a:lnTo>
                  <a:pt x="244320" y="173309"/>
                </a:lnTo>
                <a:lnTo>
                  <a:pt x="246680" y="161619"/>
                </a:lnTo>
                <a:cubicBezTo>
                  <a:pt x="286852" y="66642"/>
                  <a:pt x="380897" y="0"/>
                  <a:pt x="490507" y="0"/>
                </a:cubicBezTo>
                <a:close/>
              </a:path>
            </a:pathLst>
          </a:custGeom>
          <a:solidFill>
            <a:schemeClr val="bg1">
              <a:lumMod val="95000"/>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IN" sz="2000" b="1" dirty="0">
              <a:solidFill>
                <a:srgbClr val="FFFFFF"/>
              </a:solidFill>
              <a:latin typeface="Segoe UI Light"/>
              <a:ea typeface="Segoe UI" pitchFamily="34" charset="0"/>
              <a:cs typeface="Segoe UI" pitchFamily="34" charset="0"/>
            </a:endParaRPr>
          </a:p>
        </p:txBody>
      </p:sp>
      <p:sp>
        <p:nvSpPr>
          <p:cNvPr id="3" name="Title 2"/>
          <p:cNvSpPr>
            <a:spLocks noGrp="1"/>
          </p:cNvSpPr>
          <p:nvPr>
            <p:ph type="title"/>
          </p:nvPr>
        </p:nvSpPr>
        <p:spPr>
          <a:xfrm>
            <a:off x="365760" y="365760"/>
            <a:ext cx="11887518" cy="1452160"/>
          </a:xfrm>
          <a:noFill/>
        </p:spPr>
        <p:txBody>
          <a:bodyPr>
            <a:noAutofit/>
          </a:bodyPr>
          <a:lstStyle/>
          <a:p>
            <a:r>
              <a:rPr lang="en-US" sz="4800" dirty="0"/>
              <a:t>SQL Server </a:t>
            </a:r>
            <a:r>
              <a:rPr lang="en-US" sz="4800" dirty="0" smtClean="0"/>
              <a:t>2016: Backup </a:t>
            </a:r>
            <a:r>
              <a:rPr lang="en-US" sz="4800" dirty="0"/>
              <a:t>to Azure with </a:t>
            </a:r>
            <a:r>
              <a:rPr lang="en-US" sz="4800" dirty="0" smtClean="0"/>
              <a:t>file </a:t>
            </a:r>
            <a:r>
              <a:rPr lang="en-US" sz="4800" dirty="0"/>
              <a:t>s</a:t>
            </a:r>
            <a:r>
              <a:rPr lang="en-US" sz="4800" dirty="0" smtClean="0"/>
              <a:t>napshots</a:t>
            </a:r>
            <a:r>
              <a:rPr lang="en-US" sz="4800" dirty="0" smtClean="0">
                <a:gradFill>
                  <a:gsLst>
                    <a:gs pos="2655">
                      <a:schemeClr val="tx1"/>
                    </a:gs>
                    <a:gs pos="31000">
                      <a:schemeClr val="tx1"/>
                    </a:gs>
                  </a:gsLst>
                  <a:lin ang="5400000" scaled="0"/>
                </a:gradFill>
              </a:rPr>
              <a:t/>
            </a:r>
            <a:br>
              <a:rPr lang="en-US" sz="4800" dirty="0" smtClean="0">
                <a:gradFill>
                  <a:gsLst>
                    <a:gs pos="2655">
                      <a:schemeClr val="tx1"/>
                    </a:gs>
                    <a:gs pos="31000">
                      <a:schemeClr val="tx1"/>
                    </a:gs>
                  </a:gsLst>
                  <a:lin ang="5400000" scaled="0"/>
                </a:gradFill>
              </a:rPr>
            </a:br>
            <a:endParaRPr lang="en-US" sz="2400" dirty="0">
              <a:solidFill>
                <a:schemeClr val="tx2"/>
              </a:solidFill>
            </a:endParaRPr>
          </a:p>
        </p:txBody>
      </p:sp>
      <p:sp>
        <p:nvSpPr>
          <p:cNvPr id="23" name="Content Placeholder 2"/>
          <p:cNvSpPr txBox="1">
            <a:spLocks/>
          </p:cNvSpPr>
          <p:nvPr/>
        </p:nvSpPr>
        <p:spPr bwMode="auto">
          <a:xfrm>
            <a:off x="430900" y="5069066"/>
            <a:ext cx="11574357" cy="1489166"/>
          </a:xfrm>
          <a:prstGeom prst="rect">
            <a:avLst/>
          </a:prstGeom>
          <a:solidFill>
            <a:srgbClr val="FFFFFF">
              <a:lumMod val="95000"/>
            </a:srgbClr>
          </a:solidFill>
          <a:ln w="63500">
            <a:solidFill>
              <a:srgbClr val="0072C6"/>
            </a:solidFill>
            <a:miter lim="800000"/>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182880" tIns="146304" rIns="182880" bIns="146304" numCol="1" anchor="t" anchorCtr="0" compatLnSpc="1">
            <a:prstTxWarp prst="textNoShape">
              <a:avLst/>
            </a:prstTxWarp>
            <a:noAutofit/>
          </a:bodyPr>
          <a:lstStyle>
            <a:lvl1pPr marL="0" indent="0" algn="l" defTabSz="373039" rtl="0" fontAlgn="base">
              <a:lnSpc>
                <a:spcPct val="100000"/>
              </a:lnSpc>
              <a:spcBef>
                <a:spcPts val="0"/>
              </a:spcBef>
              <a:spcAft>
                <a:spcPct val="0"/>
              </a:spcAft>
              <a:buClr>
                <a:schemeClr val="tx1"/>
              </a:buClr>
              <a:buSzPct val="90000"/>
              <a:buFont typeface="Wingdings" pitchFamily="2" charset="2"/>
              <a:buNone/>
              <a:defRPr sz="1836" kern="1200" baseline="0">
                <a:solidFill>
                  <a:schemeClr val="tx1"/>
                </a:solidFill>
                <a:latin typeface="Consolas" panose="020B0609020204030204" pitchFamily="49" charset="0"/>
                <a:ea typeface="ＭＳ Ｐゴシック" charset="0"/>
                <a:cs typeface="Consolas" panose="020B0609020204030204" pitchFamily="49" charset="0"/>
              </a:defRPr>
            </a:lvl1pPr>
            <a:lvl2pPr marL="373039"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2pPr>
            <a:lvl3pPr marL="746077"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3pPr>
            <a:lvl4pPr marL="1119116" indent="0" algn="l" defTabSz="373039" rtl="0" fontAlgn="base">
              <a:lnSpc>
                <a:spcPct val="100000"/>
              </a:lnSpc>
              <a:spcBef>
                <a:spcPts val="0"/>
              </a:spcBef>
              <a:spcAft>
                <a:spcPct val="0"/>
              </a:spcAft>
              <a:buSzPct val="90000"/>
              <a:buFont typeface="Arial" charset="0"/>
              <a:buNone/>
              <a:defRPr sz="1836" kern="1200">
                <a:solidFill>
                  <a:schemeClr val="tx1"/>
                </a:solidFill>
                <a:latin typeface="Consolas" panose="020B0609020204030204" pitchFamily="49" charset="0"/>
                <a:ea typeface="ＭＳ Ｐゴシック" charset="0"/>
                <a:cs typeface="Consolas" panose="020B0609020204030204" pitchFamily="49" charset="0"/>
              </a:defRPr>
            </a:lvl4pPr>
            <a:lvl5pPr marL="1492154" indent="0" algn="l" defTabSz="373039" rtl="0" fontAlgn="base">
              <a:lnSpc>
                <a:spcPct val="100000"/>
              </a:lnSpc>
              <a:spcBef>
                <a:spcPts val="0"/>
              </a:spcBef>
              <a:spcAft>
                <a:spcPct val="0"/>
              </a:spcAft>
              <a:buSzPct val="90000"/>
              <a:buFont typeface="Arial" charset="0"/>
              <a:buNone/>
              <a:tabLst/>
              <a:defRPr sz="1836" kern="1200">
                <a:solidFill>
                  <a:schemeClr val="tx1"/>
                </a:solidFill>
                <a:latin typeface="Consolas" panose="020B0609020204030204" pitchFamily="49" charset="0"/>
                <a:ea typeface="ＭＳ Ｐゴシック" charset="0"/>
                <a:cs typeface="Consolas" panose="020B0609020204030204" pitchFamily="49"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99203" fontAlgn="auto">
              <a:spcAft>
                <a:spcPts val="0"/>
              </a:spcAft>
            </a:pPr>
            <a:r>
              <a:rPr lang="en-US" sz="2000" dirty="0"/>
              <a:t>BACKUP DATABASE </a:t>
            </a:r>
            <a:r>
              <a:rPr lang="en-US" sz="2000" dirty="0">
                <a:solidFill>
                  <a:srgbClr val="00188F"/>
                </a:solidFill>
              </a:rPr>
              <a:t>database </a:t>
            </a:r>
            <a:r>
              <a:rPr lang="en-US" sz="2000" dirty="0"/>
              <a:t>TO</a:t>
            </a:r>
            <a:br>
              <a:rPr lang="en-US" sz="2000" dirty="0"/>
            </a:br>
            <a:r>
              <a:rPr lang="en-US" sz="2000" dirty="0"/>
              <a:t>  URL = N'</a:t>
            </a:r>
            <a:r>
              <a:rPr lang="en-US" sz="2000" dirty="0">
                <a:solidFill>
                  <a:srgbClr val="000000"/>
                </a:solidFill>
              </a:rPr>
              <a:t>https://&lt;account&gt;.blob.core.windows.net/&lt;container&gt;/</a:t>
            </a:r>
            <a:r>
              <a:rPr lang="en-US" sz="2000" dirty="0">
                <a:solidFill>
                  <a:srgbClr val="FFFFFF">
                    <a:lumMod val="85000"/>
                  </a:srgbClr>
                </a:solidFill>
              </a:rPr>
              <a:t>&lt;</a:t>
            </a:r>
            <a:r>
              <a:rPr lang="en-US" sz="2000" dirty="0">
                <a:solidFill>
                  <a:srgbClr val="92D050"/>
                </a:solidFill>
              </a:rPr>
              <a:t>backupfileblob1</a:t>
            </a:r>
            <a:r>
              <a:rPr lang="en-US" sz="2000" dirty="0">
                <a:solidFill>
                  <a:srgbClr val="FFFFFF">
                    <a:lumMod val="85000"/>
                  </a:srgbClr>
                </a:solidFill>
              </a:rPr>
              <a:t>&gt;‘</a:t>
            </a:r>
            <a:br>
              <a:rPr lang="en-US" sz="2000" dirty="0">
                <a:solidFill>
                  <a:srgbClr val="FFFFFF">
                    <a:lumMod val="85000"/>
                  </a:srgbClr>
                </a:solidFill>
              </a:rPr>
            </a:br>
            <a:r>
              <a:rPr lang="en-US" sz="2000" dirty="0">
                <a:solidFill>
                  <a:srgbClr val="FF0000"/>
                </a:solidFill>
              </a:rPr>
              <a:t>  WITH FILE_SNAPSHOT</a:t>
            </a:r>
            <a:endParaRPr lang="en-US" sz="2000" dirty="0">
              <a:solidFill>
                <a:prstClr val="black"/>
              </a:solidFill>
            </a:endParaRPr>
          </a:p>
        </p:txBody>
      </p:sp>
      <p:grpSp>
        <p:nvGrpSpPr>
          <p:cNvPr id="26" name="Group 21"/>
          <p:cNvGrpSpPr>
            <a:grpSpLocks noChangeAspect="1"/>
          </p:cNvGrpSpPr>
          <p:nvPr/>
        </p:nvGrpSpPr>
        <p:grpSpPr bwMode="auto">
          <a:xfrm>
            <a:off x="2473835" y="2398694"/>
            <a:ext cx="1031159" cy="1381552"/>
            <a:chOff x="966" y="2128"/>
            <a:chExt cx="206" cy="276"/>
          </a:xfrm>
          <a:solidFill>
            <a:srgbClr val="0072C6"/>
          </a:solidFill>
        </p:grpSpPr>
        <p:sp>
          <p:nvSpPr>
            <p:cNvPr id="27" name="Freeform 22"/>
            <p:cNvSpPr>
              <a:spLocks/>
            </p:cNvSpPr>
            <p:nvPr/>
          </p:nvSpPr>
          <p:spPr bwMode="auto">
            <a:xfrm>
              <a:off x="1060" y="2261"/>
              <a:ext cx="20" cy="29"/>
            </a:xfrm>
            <a:custGeom>
              <a:avLst/>
              <a:gdLst>
                <a:gd name="T0" fmla="*/ 40 w 45"/>
                <a:gd name="T1" fmla="*/ 10 h 64"/>
                <a:gd name="T2" fmla="*/ 33 w 45"/>
                <a:gd name="T3" fmla="*/ 3 h 64"/>
                <a:gd name="T4" fmla="*/ 23 w 45"/>
                <a:gd name="T5" fmla="*/ 0 h 64"/>
                <a:gd name="T6" fmla="*/ 13 w 45"/>
                <a:gd name="T7" fmla="*/ 3 h 64"/>
                <a:gd name="T8" fmla="*/ 5 w 45"/>
                <a:gd name="T9" fmla="*/ 10 h 64"/>
                <a:gd name="T10" fmla="*/ 1 w 45"/>
                <a:gd name="T11" fmla="*/ 20 h 64"/>
                <a:gd name="T12" fmla="*/ 0 w 45"/>
                <a:gd name="T13" fmla="*/ 32 h 64"/>
                <a:gd name="T14" fmla="*/ 2 w 45"/>
                <a:gd name="T15" fmla="*/ 47 h 64"/>
                <a:gd name="T16" fmla="*/ 7 w 45"/>
                <a:gd name="T17" fmla="*/ 57 h 64"/>
                <a:gd name="T18" fmla="*/ 14 w 45"/>
                <a:gd name="T19" fmla="*/ 63 h 64"/>
                <a:gd name="T20" fmla="*/ 23 w 45"/>
                <a:gd name="T21" fmla="*/ 64 h 64"/>
                <a:gd name="T22" fmla="*/ 31 w 45"/>
                <a:gd name="T23" fmla="*/ 63 h 64"/>
                <a:gd name="T24" fmla="*/ 38 w 45"/>
                <a:gd name="T25" fmla="*/ 57 h 64"/>
                <a:gd name="T26" fmla="*/ 43 w 45"/>
                <a:gd name="T27" fmla="*/ 47 h 64"/>
                <a:gd name="T28" fmla="*/ 45 w 45"/>
                <a:gd name="T29" fmla="*/ 33 h 64"/>
                <a:gd name="T30" fmla="*/ 44 w 45"/>
                <a:gd name="T31" fmla="*/ 20 h 64"/>
                <a:gd name="T32" fmla="*/ 40 w 45"/>
                <a:gd name="T33"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4">
                  <a:moveTo>
                    <a:pt x="40" y="10"/>
                  </a:moveTo>
                  <a:cubicBezTo>
                    <a:pt x="38" y="7"/>
                    <a:pt x="36" y="4"/>
                    <a:pt x="33" y="3"/>
                  </a:cubicBezTo>
                  <a:cubicBezTo>
                    <a:pt x="31" y="1"/>
                    <a:pt x="27" y="0"/>
                    <a:pt x="23" y="0"/>
                  </a:cubicBezTo>
                  <a:cubicBezTo>
                    <a:pt x="19" y="0"/>
                    <a:pt x="16" y="1"/>
                    <a:pt x="13" y="3"/>
                  </a:cubicBezTo>
                  <a:cubicBezTo>
                    <a:pt x="10" y="4"/>
                    <a:pt x="7" y="7"/>
                    <a:pt x="5" y="10"/>
                  </a:cubicBezTo>
                  <a:cubicBezTo>
                    <a:pt x="3" y="13"/>
                    <a:pt x="2" y="16"/>
                    <a:pt x="1" y="20"/>
                  </a:cubicBezTo>
                  <a:cubicBezTo>
                    <a:pt x="0" y="24"/>
                    <a:pt x="0" y="28"/>
                    <a:pt x="0" y="32"/>
                  </a:cubicBezTo>
                  <a:cubicBezTo>
                    <a:pt x="0" y="38"/>
                    <a:pt x="0" y="43"/>
                    <a:pt x="2" y="47"/>
                  </a:cubicBezTo>
                  <a:cubicBezTo>
                    <a:pt x="3" y="51"/>
                    <a:pt x="5" y="54"/>
                    <a:pt x="7" y="57"/>
                  </a:cubicBezTo>
                  <a:cubicBezTo>
                    <a:pt x="9" y="60"/>
                    <a:pt x="11" y="61"/>
                    <a:pt x="14" y="63"/>
                  </a:cubicBezTo>
                  <a:cubicBezTo>
                    <a:pt x="17" y="64"/>
                    <a:pt x="20" y="64"/>
                    <a:pt x="23" y="64"/>
                  </a:cubicBezTo>
                  <a:cubicBezTo>
                    <a:pt x="26" y="64"/>
                    <a:pt x="28" y="64"/>
                    <a:pt x="31" y="63"/>
                  </a:cubicBezTo>
                  <a:cubicBezTo>
                    <a:pt x="34" y="61"/>
                    <a:pt x="36" y="59"/>
                    <a:pt x="38" y="57"/>
                  </a:cubicBezTo>
                  <a:cubicBezTo>
                    <a:pt x="40" y="54"/>
                    <a:pt x="42" y="51"/>
                    <a:pt x="43" y="47"/>
                  </a:cubicBezTo>
                  <a:cubicBezTo>
                    <a:pt x="45" y="43"/>
                    <a:pt x="45" y="38"/>
                    <a:pt x="45" y="33"/>
                  </a:cubicBezTo>
                  <a:cubicBezTo>
                    <a:pt x="45" y="28"/>
                    <a:pt x="45" y="24"/>
                    <a:pt x="44" y="20"/>
                  </a:cubicBezTo>
                  <a:cubicBezTo>
                    <a:pt x="43" y="16"/>
                    <a:pt x="42" y="13"/>
                    <a:pt x="40" y="10"/>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3"/>
            <p:cNvSpPr>
              <a:spLocks noEditPoints="1"/>
            </p:cNvSpPr>
            <p:nvPr/>
          </p:nvSpPr>
          <p:spPr bwMode="auto">
            <a:xfrm>
              <a:off x="966" y="2128"/>
              <a:ext cx="206" cy="276"/>
            </a:xfrm>
            <a:custGeom>
              <a:avLst/>
              <a:gdLst>
                <a:gd name="T0" fmla="*/ 0 w 462"/>
                <a:gd name="T1" fmla="*/ 92 h 616"/>
                <a:gd name="T2" fmla="*/ 231 w 462"/>
                <a:gd name="T3" fmla="*/ 616 h 616"/>
                <a:gd name="T4" fmla="*/ 462 w 462"/>
                <a:gd name="T5" fmla="*/ 94 h 616"/>
                <a:gd name="T6" fmla="*/ 162 w 462"/>
                <a:gd name="T7" fmla="*/ 362 h 616"/>
                <a:gd name="T8" fmla="*/ 152 w 462"/>
                <a:gd name="T9" fmla="*/ 380 h 616"/>
                <a:gd name="T10" fmla="*/ 128 w 462"/>
                <a:gd name="T11" fmla="*/ 391 h 616"/>
                <a:gd name="T12" fmla="*/ 98 w 462"/>
                <a:gd name="T13" fmla="*/ 393 h 616"/>
                <a:gd name="T14" fmla="*/ 80 w 462"/>
                <a:gd name="T15" fmla="*/ 389 h 616"/>
                <a:gd name="T16" fmla="*/ 74 w 462"/>
                <a:gd name="T17" fmla="*/ 353 h 616"/>
                <a:gd name="T18" fmla="*/ 89 w 462"/>
                <a:gd name="T19" fmla="*/ 361 h 616"/>
                <a:gd name="T20" fmla="*/ 108 w 462"/>
                <a:gd name="T21" fmla="*/ 366 h 616"/>
                <a:gd name="T22" fmla="*/ 119 w 462"/>
                <a:gd name="T23" fmla="*/ 363 h 616"/>
                <a:gd name="T24" fmla="*/ 121 w 462"/>
                <a:gd name="T25" fmla="*/ 357 h 616"/>
                <a:gd name="T26" fmla="*/ 116 w 462"/>
                <a:gd name="T27" fmla="*/ 348 h 616"/>
                <a:gd name="T28" fmla="*/ 102 w 462"/>
                <a:gd name="T29" fmla="*/ 342 h 616"/>
                <a:gd name="T30" fmla="*/ 79 w 462"/>
                <a:gd name="T31" fmla="*/ 326 h 616"/>
                <a:gd name="T32" fmla="*/ 72 w 462"/>
                <a:gd name="T33" fmla="*/ 305 h 616"/>
                <a:gd name="T34" fmla="*/ 86 w 462"/>
                <a:gd name="T35" fmla="*/ 276 h 616"/>
                <a:gd name="T36" fmla="*/ 122 w 462"/>
                <a:gd name="T37" fmla="*/ 265 h 616"/>
                <a:gd name="T38" fmla="*/ 143 w 462"/>
                <a:gd name="T39" fmla="*/ 267 h 616"/>
                <a:gd name="T40" fmla="*/ 156 w 462"/>
                <a:gd name="T41" fmla="*/ 270 h 616"/>
                <a:gd name="T42" fmla="*/ 150 w 462"/>
                <a:gd name="T43" fmla="*/ 299 h 616"/>
                <a:gd name="T44" fmla="*/ 135 w 462"/>
                <a:gd name="T45" fmla="*/ 294 h 616"/>
                <a:gd name="T46" fmla="*/ 116 w 462"/>
                <a:gd name="T47" fmla="*/ 295 h 616"/>
                <a:gd name="T48" fmla="*/ 113 w 462"/>
                <a:gd name="T49" fmla="*/ 305 h 616"/>
                <a:gd name="T50" fmla="*/ 120 w 462"/>
                <a:gd name="T51" fmla="*/ 311 h 616"/>
                <a:gd name="T52" fmla="*/ 142 w 462"/>
                <a:gd name="T53" fmla="*/ 321 h 616"/>
                <a:gd name="T54" fmla="*/ 160 w 462"/>
                <a:gd name="T55" fmla="*/ 340 h 616"/>
                <a:gd name="T56" fmla="*/ 162 w 462"/>
                <a:gd name="T57" fmla="*/ 362 h 616"/>
                <a:gd name="T58" fmla="*/ 229 w 462"/>
                <a:gd name="T59" fmla="*/ 393 h 616"/>
                <a:gd name="T60" fmla="*/ 188 w 462"/>
                <a:gd name="T61" fmla="*/ 375 h 616"/>
                <a:gd name="T62" fmla="*/ 171 w 462"/>
                <a:gd name="T63" fmla="*/ 331 h 616"/>
                <a:gd name="T64" fmla="*/ 189 w 462"/>
                <a:gd name="T65" fmla="*/ 284 h 616"/>
                <a:gd name="T66" fmla="*/ 235 w 462"/>
                <a:gd name="T67" fmla="*/ 265 h 616"/>
                <a:gd name="T68" fmla="*/ 278 w 462"/>
                <a:gd name="T69" fmla="*/ 282 h 616"/>
                <a:gd name="T70" fmla="*/ 296 w 462"/>
                <a:gd name="T71" fmla="*/ 329 h 616"/>
                <a:gd name="T72" fmla="*/ 286 w 462"/>
                <a:gd name="T73" fmla="*/ 365 h 616"/>
                <a:gd name="T74" fmla="*/ 261 w 462"/>
                <a:gd name="T75" fmla="*/ 387 h 616"/>
                <a:gd name="T76" fmla="*/ 256 w 462"/>
                <a:gd name="T77" fmla="*/ 423 h 616"/>
                <a:gd name="T78" fmla="*/ 393 w 462"/>
                <a:gd name="T79" fmla="*/ 391 h 616"/>
                <a:gd name="T80" fmla="*/ 313 w 462"/>
                <a:gd name="T81" fmla="*/ 267 h 616"/>
                <a:gd name="T82" fmla="*/ 351 w 462"/>
                <a:gd name="T83" fmla="*/ 362 h 616"/>
                <a:gd name="T84" fmla="*/ 393 w 462"/>
                <a:gd name="T85" fmla="*/ 391 h 616"/>
                <a:gd name="T86" fmla="*/ 231 w 462"/>
                <a:gd name="T87" fmla="*/ 134 h 616"/>
                <a:gd name="T88" fmla="*/ 231 w 462"/>
                <a:gd name="T89" fmla="*/ 34 h 616"/>
                <a:gd name="T90" fmla="*/ 231 w 462"/>
                <a:gd name="T91" fmla="*/ 13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2" h="616">
                  <a:moveTo>
                    <a:pt x="231" y="0"/>
                  </a:moveTo>
                  <a:cubicBezTo>
                    <a:pt x="104" y="0"/>
                    <a:pt x="0" y="44"/>
                    <a:pt x="0" y="92"/>
                  </a:cubicBezTo>
                  <a:lnTo>
                    <a:pt x="0" y="523"/>
                  </a:lnTo>
                  <a:cubicBezTo>
                    <a:pt x="0" y="571"/>
                    <a:pt x="104" y="616"/>
                    <a:pt x="231" y="616"/>
                  </a:cubicBezTo>
                  <a:cubicBezTo>
                    <a:pt x="359" y="616"/>
                    <a:pt x="462" y="573"/>
                    <a:pt x="462" y="526"/>
                  </a:cubicBezTo>
                  <a:lnTo>
                    <a:pt x="462" y="94"/>
                  </a:lnTo>
                  <a:cubicBezTo>
                    <a:pt x="462" y="46"/>
                    <a:pt x="359" y="0"/>
                    <a:pt x="231" y="0"/>
                  </a:cubicBezTo>
                  <a:close/>
                  <a:moveTo>
                    <a:pt x="162" y="362"/>
                  </a:moveTo>
                  <a:cubicBezTo>
                    <a:pt x="161" y="366"/>
                    <a:pt x="160" y="369"/>
                    <a:pt x="159" y="371"/>
                  </a:cubicBezTo>
                  <a:cubicBezTo>
                    <a:pt x="157" y="374"/>
                    <a:pt x="155" y="377"/>
                    <a:pt x="152" y="380"/>
                  </a:cubicBezTo>
                  <a:cubicBezTo>
                    <a:pt x="150" y="382"/>
                    <a:pt x="146" y="385"/>
                    <a:pt x="142" y="387"/>
                  </a:cubicBezTo>
                  <a:cubicBezTo>
                    <a:pt x="138" y="389"/>
                    <a:pt x="134" y="390"/>
                    <a:pt x="128" y="391"/>
                  </a:cubicBezTo>
                  <a:cubicBezTo>
                    <a:pt x="123" y="393"/>
                    <a:pt x="116" y="393"/>
                    <a:pt x="109" y="393"/>
                  </a:cubicBezTo>
                  <a:cubicBezTo>
                    <a:pt x="105" y="393"/>
                    <a:pt x="102" y="393"/>
                    <a:pt x="98" y="393"/>
                  </a:cubicBezTo>
                  <a:cubicBezTo>
                    <a:pt x="95" y="392"/>
                    <a:pt x="91" y="392"/>
                    <a:pt x="88" y="391"/>
                  </a:cubicBezTo>
                  <a:cubicBezTo>
                    <a:pt x="85" y="391"/>
                    <a:pt x="82" y="390"/>
                    <a:pt x="80" y="389"/>
                  </a:cubicBezTo>
                  <a:cubicBezTo>
                    <a:pt x="77" y="388"/>
                    <a:pt x="75" y="387"/>
                    <a:pt x="74" y="387"/>
                  </a:cubicBezTo>
                  <a:lnTo>
                    <a:pt x="74" y="353"/>
                  </a:lnTo>
                  <a:cubicBezTo>
                    <a:pt x="76" y="354"/>
                    <a:pt x="78" y="356"/>
                    <a:pt x="81" y="357"/>
                  </a:cubicBezTo>
                  <a:cubicBezTo>
                    <a:pt x="83" y="359"/>
                    <a:pt x="86" y="360"/>
                    <a:pt x="89" y="361"/>
                  </a:cubicBezTo>
                  <a:cubicBezTo>
                    <a:pt x="92" y="363"/>
                    <a:pt x="95" y="364"/>
                    <a:pt x="99" y="364"/>
                  </a:cubicBezTo>
                  <a:cubicBezTo>
                    <a:pt x="102" y="365"/>
                    <a:pt x="105" y="366"/>
                    <a:pt x="108" y="366"/>
                  </a:cubicBezTo>
                  <a:cubicBezTo>
                    <a:pt x="111" y="366"/>
                    <a:pt x="113" y="365"/>
                    <a:pt x="115" y="365"/>
                  </a:cubicBezTo>
                  <a:cubicBezTo>
                    <a:pt x="116" y="364"/>
                    <a:pt x="118" y="364"/>
                    <a:pt x="119" y="363"/>
                  </a:cubicBezTo>
                  <a:cubicBezTo>
                    <a:pt x="119" y="362"/>
                    <a:pt x="120" y="361"/>
                    <a:pt x="121" y="360"/>
                  </a:cubicBezTo>
                  <a:cubicBezTo>
                    <a:pt x="121" y="359"/>
                    <a:pt x="121" y="358"/>
                    <a:pt x="121" y="357"/>
                  </a:cubicBezTo>
                  <a:cubicBezTo>
                    <a:pt x="121" y="355"/>
                    <a:pt x="121" y="353"/>
                    <a:pt x="120" y="352"/>
                  </a:cubicBezTo>
                  <a:cubicBezTo>
                    <a:pt x="119" y="351"/>
                    <a:pt x="117" y="349"/>
                    <a:pt x="116" y="348"/>
                  </a:cubicBezTo>
                  <a:cubicBezTo>
                    <a:pt x="114" y="347"/>
                    <a:pt x="112" y="346"/>
                    <a:pt x="110" y="345"/>
                  </a:cubicBezTo>
                  <a:cubicBezTo>
                    <a:pt x="107" y="344"/>
                    <a:pt x="104" y="343"/>
                    <a:pt x="102" y="342"/>
                  </a:cubicBezTo>
                  <a:cubicBezTo>
                    <a:pt x="96" y="340"/>
                    <a:pt x="92" y="337"/>
                    <a:pt x="88" y="335"/>
                  </a:cubicBezTo>
                  <a:cubicBezTo>
                    <a:pt x="84" y="332"/>
                    <a:pt x="81" y="329"/>
                    <a:pt x="79" y="326"/>
                  </a:cubicBezTo>
                  <a:cubicBezTo>
                    <a:pt x="76" y="323"/>
                    <a:pt x="74" y="319"/>
                    <a:pt x="73" y="316"/>
                  </a:cubicBezTo>
                  <a:cubicBezTo>
                    <a:pt x="72" y="312"/>
                    <a:pt x="72" y="309"/>
                    <a:pt x="72" y="305"/>
                  </a:cubicBezTo>
                  <a:cubicBezTo>
                    <a:pt x="72" y="299"/>
                    <a:pt x="73" y="293"/>
                    <a:pt x="75" y="288"/>
                  </a:cubicBezTo>
                  <a:cubicBezTo>
                    <a:pt x="78" y="283"/>
                    <a:pt x="81" y="279"/>
                    <a:pt x="86" y="276"/>
                  </a:cubicBezTo>
                  <a:cubicBezTo>
                    <a:pt x="90" y="272"/>
                    <a:pt x="95" y="270"/>
                    <a:pt x="101" y="268"/>
                  </a:cubicBezTo>
                  <a:cubicBezTo>
                    <a:pt x="108" y="266"/>
                    <a:pt x="114" y="265"/>
                    <a:pt x="122" y="265"/>
                  </a:cubicBezTo>
                  <a:cubicBezTo>
                    <a:pt x="126" y="265"/>
                    <a:pt x="130" y="265"/>
                    <a:pt x="134" y="266"/>
                  </a:cubicBezTo>
                  <a:cubicBezTo>
                    <a:pt x="137" y="266"/>
                    <a:pt x="140" y="266"/>
                    <a:pt x="143" y="267"/>
                  </a:cubicBezTo>
                  <a:cubicBezTo>
                    <a:pt x="146" y="267"/>
                    <a:pt x="148" y="268"/>
                    <a:pt x="150" y="268"/>
                  </a:cubicBezTo>
                  <a:cubicBezTo>
                    <a:pt x="153" y="269"/>
                    <a:pt x="155" y="269"/>
                    <a:pt x="156" y="270"/>
                  </a:cubicBezTo>
                  <a:lnTo>
                    <a:pt x="156" y="302"/>
                  </a:lnTo>
                  <a:cubicBezTo>
                    <a:pt x="154" y="301"/>
                    <a:pt x="153" y="299"/>
                    <a:pt x="150" y="299"/>
                  </a:cubicBezTo>
                  <a:cubicBezTo>
                    <a:pt x="148" y="297"/>
                    <a:pt x="146" y="297"/>
                    <a:pt x="143" y="296"/>
                  </a:cubicBezTo>
                  <a:cubicBezTo>
                    <a:pt x="140" y="295"/>
                    <a:pt x="138" y="294"/>
                    <a:pt x="135" y="294"/>
                  </a:cubicBezTo>
                  <a:cubicBezTo>
                    <a:pt x="132" y="293"/>
                    <a:pt x="129" y="293"/>
                    <a:pt x="126" y="293"/>
                  </a:cubicBezTo>
                  <a:cubicBezTo>
                    <a:pt x="121" y="293"/>
                    <a:pt x="118" y="294"/>
                    <a:pt x="116" y="295"/>
                  </a:cubicBezTo>
                  <a:cubicBezTo>
                    <a:pt x="113" y="297"/>
                    <a:pt x="112" y="299"/>
                    <a:pt x="112" y="302"/>
                  </a:cubicBezTo>
                  <a:cubicBezTo>
                    <a:pt x="112" y="303"/>
                    <a:pt x="112" y="304"/>
                    <a:pt x="113" y="305"/>
                  </a:cubicBezTo>
                  <a:cubicBezTo>
                    <a:pt x="113" y="307"/>
                    <a:pt x="114" y="307"/>
                    <a:pt x="115" y="308"/>
                  </a:cubicBezTo>
                  <a:cubicBezTo>
                    <a:pt x="116" y="309"/>
                    <a:pt x="118" y="310"/>
                    <a:pt x="120" y="311"/>
                  </a:cubicBezTo>
                  <a:cubicBezTo>
                    <a:pt x="122" y="312"/>
                    <a:pt x="125" y="314"/>
                    <a:pt x="128" y="315"/>
                  </a:cubicBezTo>
                  <a:cubicBezTo>
                    <a:pt x="133" y="317"/>
                    <a:pt x="137" y="319"/>
                    <a:pt x="142" y="321"/>
                  </a:cubicBezTo>
                  <a:cubicBezTo>
                    <a:pt x="146" y="324"/>
                    <a:pt x="150" y="327"/>
                    <a:pt x="153" y="330"/>
                  </a:cubicBezTo>
                  <a:cubicBezTo>
                    <a:pt x="156" y="333"/>
                    <a:pt x="158" y="336"/>
                    <a:pt x="160" y="340"/>
                  </a:cubicBezTo>
                  <a:cubicBezTo>
                    <a:pt x="162" y="344"/>
                    <a:pt x="163" y="349"/>
                    <a:pt x="163" y="354"/>
                  </a:cubicBezTo>
                  <a:cubicBezTo>
                    <a:pt x="163" y="356"/>
                    <a:pt x="163" y="359"/>
                    <a:pt x="162" y="362"/>
                  </a:cubicBezTo>
                  <a:close/>
                  <a:moveTo>
                    <a:pt x="256" y="423"/>
                  </a:moveTo>
                  <a:lnTo>
                    <a:pt x="229" y="393"/>
                  </a:lnTo>
                  <a:cubicBezTo>
                    <a:pt x="221" y="393"/>
                    <a:pt x="213" y="391"/>
                    <a:pt x="206" y="388"/>
                  </a:cubicBezTo>
                  <a:cubicBezTo>
                    <a:pt x="199" y="385"/>
                    <a:pt x="193" y="381"/>
                    <a:pt x="188" y="375"/>
                  </a:cubicBezTo>
                  <a:cubicBezTo>
                    <a:pt x="183" y="370"/>
                    <a:pt x="179" y="364"/>
                    <a:pt x="176" y="356"/>
                  </a:cubicBezTo>
                  <a:cubicBezTo>
                    <a:pt x="173" y="349"/>
                    <a:pt x="171" y="340"/>
                    <a:pt x="171" y="331"/>
                  </a:cubicBezTo>
                  <a:cubicBezTo>
                    <a:pt x="171" y="321"/>
                    <a:pt x="173" y="312"/>
                    <a:pt x="176" y="304"/>
                  </a:cubicBezTo>
                  <a:cubicBezTo>
                    <a:pt x="179" y="296"/>
                    <a:pt x="183" y="289"/>
                    <a:pt x="189" y="284"/>
                  </a:cubicBezTo>
                  <a:cubicBezTo>
                    <a:pt x="194" y="278"/>
                    <a:pt x="201" y="273"/>
                    <a:pt x="209" y="270"/>
                  </a:cubicBezTo>
                  <a:cubicBezTo>
                    <a:pt x="217" y="267"/>
                    <a:pt x="225" y="265"/>
                    <a:pt x="235" y="265"/>
                  </a:cubicBezTo>
                  <a:cubicBezTo>
                    <a:pt x="243" y="265"/>
                    <a:pt x="252" y="267"/>
                    <a:pt x="259" y="270"/>
                  </a:cubicBezTo>
                  <a:cubicBezTo>
                    <a:pt x="267" y="273"/>
                    <a:pt x="273" y="277"/>
                    <a:pt x="278" y="282"/>
                  </a:cubicBezTo>
                  <a:cubicBezTo>
                    <a:pt x="284" y="288"/>
                    <a:pt x="288" y="294"/>
                    <a:pt x="291" y="302"/>
                  </a:cubicBezTo>
                  <a:cubicBezTo>
                    <a:pt x="294" y="310"/>
                    <a:pt x="296" y="319"/>
                    <a:pt x="296" y="329"/>
                  </a:cubicBezTo>
                  <a:cubicBezTo>
                    <a:pt x="296" y="336"/>
                    <a:pt x="295" y="343"/>
                    <a:pt x="293" y="349"/>
                  </a:cubicBezTo>
                  <a:cubicBezTo>
                    <a:pt x="291" y="355"/>
                    <a:pt x="289" y="360"/>
                    <a:pt x="286" y="365"/>
                  </a:cubicBezTo>
                  <a:cubicBezTo>
                    <a:pt x="283" y="370"/>
                    <a:pt x="279" y="374"/>
                    <a:pt x="275" y="378"/>
                  </a:cubicBezTo>
                  <a:cubicBezTo>
                    <a:pt x="271" y="382"/>
                    <a:pt x="266" y="385"/>
                    <a:pt x="261" y="387"/>
                  </a:cubicBezTo>
                  <a:lnTo>
                    <a:pt x="303" y="423"/>
                  </a:lnTo>
                  <a:lnTo>
                    <a:pt x="256" y="423"/>
                  </a:lnTo>
                  <a:lnTo>
                    <a:pt x="256" y="423"/>
                  </a:lnTo>
                  <a:close/>
                  <a:moveTo>
                    <a:pt x="393" y="391"/>
                  </a:moveTo>
                  <a:lnTo>
                    <a:pt x="313" y="391"/>
                  </a:lnTo>
                  <a:lnTo>
                    <a:pt x="313" y="267"/>
                  </a:lnTo>
                  <a:lnTo>
                    <a:pt x="351" y="267"/>
                  </a:lnTo>
                  <a:lnTo>
                    <a:pt x="351" y="362"/>
                  </a:lnTo>
                  <a:lnTo>
                    <a:pt x="393" y="362"/>
                  </a:lnTo>
                  <a:lnTo>
                    <a:pt x="393" y="391"/>
                  </a:lnTo>
                  <a:lnTo>
                    <a:pt x="393" y="391"/>
                  </a:lnTo>
                  <a:close/>
                  <a:moveTo>
                    <a:pt x="231" y="134"/>
                  </a:moveTo>
                  <a:cubicBezTo>
                    <a:pt x="140" y="134"/>
                    <a:pt x="67" y="112"/>
                    <a:pt x="67" y="84"/>
                  </a:cubicBezTo>
                  <a:cubicBezTo>
                    <a:pt x="67" y="56"/>
                    <a:pt x="140" y="34"/>
                    <a:pt x="231" y="34"/>
                  </a:cubicBezTo>
                  <a:cubicBezTo>
                    <a:pt x="322" y="34"/>
                    <a:pt x="396" y="56"/>
                    <a:pt x="396" y="84"/>
                  </a:cubicBezTo>
                  <a:cubicBezTo>
                    <a:pt x="396" y="112"/>
                    <a:pt x="322" y="134"/>
                    <a:pt x="231" y="1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Freeform 5"/>
          <p:cNvSpPr>
            <a:spLocks noEditPoints="1"/>
          </p:cNvSpPr>
          <p:nvPr/>
        </p:nvSpPr>
        <p:spPr bwMode="auto">
          <a:xfrm>
            <a:off x="5954658" y="2272747"/>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r>
              <a:rPr lang="en-US" sz="1400" b="1" dirty="0" smtClean="0">
                <a:solidFill>
                  <a:schemeClr val="bg1"/>
                </a:solidFill>
              </a:rPr>
              <a:t>MDF</a:t>
            </a:r>
            <a:endParaRPr lang="en-US" sz="1400" b="1" dirty="0">
              <a:solidFill>
                <a:schemeClr val="bg1"/>
              </a:solidFill>
            </a:endParaRPr>
          </a:p>
        </p:txBody>
      </p:sp>
      <p:sp>
        <p:nvSpPr>
          <p:cNvPr id="36" name="Freeform 5"/>
          <p:cNvSpPr>
            <a:spLocks noEditPoints="1"/>
          </p:cNvSpPr>
          <p:nvPr/>
        </p:nvSpPr>
        <p:spPr bwMode="auto">
          <a:xfrm>
            <a:off x="6606420" y="2272747"/>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accent5">
              <a:lumMod val="90000"/>
              <a:lumOff val="1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r>
              <a:rPr lang="en-US" sz="1400" b="1" dirty="0" smtClean="0">
                <a:solidFill>
                  <a:schemeClr val="bg1"/>
                </a:solidFill>
              </a:rPr>
              <a:t>MDF</a:t>
            </a:r>
            <a:endParaRPr lang="en-US" sz="1400" b="1" dirty="0">
              <a:solidFill>
                <a:schemeClr val="bg1"/>
              </a:solidFill>
            </a:endParaRPr>
          </a:p>
        </p:txBody>
      </p:sp>
      <p:sp>
        <p:nvSpPr>
          <p:cNvPr id="37" name="Freeform 5"/>
          <p:cNvSpPr>
            <a:spLocks noEditPoints="1"/>
          </p:cNvSpPr>
          <p:nvPr/>
        </p:nvSpPr>
        <p:spPr bwMode="auto">
          <a:xfrm>
            <a:off x="5954658" y="3267496"/>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LDF</a:t>
            </a:r>
            <a:endParaRPr lang="en-US" sz="1400" b="1" dirty="0">
              <a:solidFill>
                <a:schemeClr val="bg1"/>
              </a:solidFill>
            </a:endParaRPr>
          </a:p>
        </p:txBody>
      </p:sp>
      <p:sp>
        <p:nvSpPr>
          <p:cNvPr id="38" name="Freeform 5"/>
          <p:cNvSpPr>
            <a:spLocks noEditPoints="1"/>
          </p:cNvSpPr>
          <p:nvPr/>
        </p:nvSpPr>
        <p:spPr bwMode="auto">
          <a:xfrm>
            <a:off x="6606420" y="3267496"/>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accent5">
              <a:lumMod val="90000"/>
              <a:lumOff val="1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LDF</a:t>
            </a:r>
            <a:endParaRPr lang="en-US" sz="1400" b="1" dirty="0">
              <a:solidFill>
                <a:schemeClr val="bg1"/>
              </a:solidFill>
            </a:endParaRPr>
          </a:p>
        </p:txBody>
      </p:sp>
      <p:sp>
        <p:nvSpPr>
          <p:cNvPr id="41" name="TextBox 40"/>
          <p:cNvSpPr txBox="1"/>
          <p:nvPr/>
        </p:nvSpPr>
        <p:spPr>
          <a:xfrm>
            <a:off x="5469762" y="4004046"/>
            <a:ext cx="227331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t>Azure Storage</a:t>
            </a:r>
          </a:p>
        </p:txBody>
      </p:sp>
      <p:sp>
        <p:nvSpPr>
          <p:cNvPr id="17" name="TextBox 16"/>
          <p:cNvSpPr txBox="1"/>
          <p:nvPr/>
        </p:nvSpPr>
        <p:spPr>
          <a:xfrm>
            <a:off x="2276962" y="3704066"/>
            <a:ext cx="1415900" cy="572464"/>
          </a:xfrm>
          <a:prstGeom prst="rect">
            <a:avLst/>
          </a:prstGeom>
          <a:noFill/>
        </p:spPr>
        <p:txBody>
          <a:bodyPr wrap="non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Database</a:t>
            </a:r>
          </a:p>
        </p:txBody>
      </p:sp>
      <p:cxnSp>
        <p:nvCxnSpPr>
          <p:cNvPr id="19" name="Straight Arrow Connector 18"/>
          <p:cNvCxnSpPr/>
          <p:nvPr/>
        </p:nvCxnSpPr>
        <p:spPr>
          <a:xfrm flipV="1">
            <a:off x="3636891" y="2659548"/>
            <a:ext cx="2168434" cy="50028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636891" y="3304999"/>
            <a:ext cx="2168434" cy="34929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Freeform 5"/>
          <p:cNvSpPr>
            <a:spLocks noEditPoints="1"/>
          </p:cNvSpPr>
          <p:nvPr/>
        </p:nvSpPr>
        <p:spPr bwMode="auto">
          <a:xfrm>
            <a:off x="8107469" y="2977144"/>
            <a:ext cx="587828" cy="773605"/>
          </a:xfrm>
          <a:custGeom>
            <a:avLst/>
            <a:gdLst>
              <a:gd name="T0" fmla="*/ 238 w 475"/>
              <a:gd name="T1" fmla="*/ 136 h 621"/>
              <a:gd name="T2" fmla="*/ 69 w 475"/>
              <a:gd name="T3" fmla="*/ 85 h 621"/>
              <a:gd name="T4" fmla="*/ 238 w 475"/>
              <a:gd name="T5" fmla="*/ 34 h 621"/>
              <a:gd name="T6" fmla="*/ 407 w 475"/>
              <a:gd name="T7" fmla="*/ 85 h 621"/>
              <a:gd name="T8" fmla="*/ 238 w 475"/>
              <a:gd name="T9" fmla="*/ 136 h 621"/>
              <a:gd name="T10" fmla="*/ 0 w 475"/>
              <a:gd name="T11" fmla="*/ 430 h 621"/>
              <a:gd name="T12" fmla="*/ 0 w 475"/>
              <a:gd name="T13" fmla="*/ 523 h 621"/>
              <a:gd name="T14" fmla="*/ 200 w 475"/>
              <a:gd name="T15" fmla="*/ 621 h 621"/>
              <a:gd name="T16" fmla="*/ 276 w 475"/>
              <a:gd name="T17" fmla="*/ 621 h 621"/>
              <a:gd name="T18" fmla="*/ 475 w 475"/>
              <a:gd name="T19" fmla="*/ 531 h 621"/>
              <a:gd name="T20" fmla="*/ 475 w 475"/>
              <a:gd name="T21" fmla="*/ 95 h 621"/>
              <a:gd name="T22" fmla="*/ 237 w 475"/>
              <a:gd name="T23" fmla="*/ 0 h 621"/>
              <a:gd name="T24" fmla="*/ 0 w 475"/>
              <a:gd name="T25" fmla="*/ 93 h 621"/>
              <a:gd name="T26" fmla="*/ 0 w 475"/>
              <a:gd name="T27" fmla="*/ 430 h 621"/>
              <a:gd name="T28" fmla="*/ 0 w 475"/>
              <a:gd name="T29" fmla="*/ 43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5" h="621">
                <a:moveTo>
                  <a:pt x="238" y="136"/>
                </a:moveTo>
                <a:cubicBezTo>
                  <a:pt x="145" y="136"/>
                  <a:pt x="69" y="113"/>
                  <a:pt x="69" y="85"/>
                </a:cubicBezTo>
                <a:cubicBezTo>
                  <a:pt x="69" y="57"/>
                  <a:pt x="144" y="34"/>
                  <a:pt x="238" y="34"/>
                </a:cubicBezTo>
                <a:cubicBezTo>
                  <a:pt x="331" y="34"/>
                  <a:pt x="407" y="56"/>
                  <a:pt x="407" y="85"/>
                </a:cubicBezTo>
                <a:cubicBezTo>
                  <a:pt x="407" y="113"/>
                  <a:pt x="331" y="136"/>
                  <a:pt x="238" y="136"/>
                </a:cubicBezTo>
                <a:close/>
                <a:moveTo>
                  <a:pt x="0" y="430"/>
                </a:moveTo>
                <a:lnTo>
                  <a:pt x="0" y="523"/>
                </a:lnTo>
                <a:cubicBezTo>
                  <a:pt x="0" y="566"/>
                  <a:pt x="87" y="614"/>
                  <a:pt x="200" y="621"/>
                </a:cubicBezTo>
                <a:lnTo>
                  <a:pt x="276" y="621"/>
                </a:lnTo>
                <a:cubicBezTo>
                  <a:pt x="389" y="614"/>
                  <a:pt x="475" y="575"/>
                  <a:pt x="475" y="531"/>
                </a:cubicBezTo>
                <a:lnTo>
                  <a:pt x="475" y="95"/>
                </a:lnTo>
                <a:cubicBezTo>
                  <a:pt x="475" y="47"/>
                  <a:pt x="368" y="0"/>
                  <a:pt x="237" y="0"/>
                </a:cubicBezTo>
                <a:cubicBezTo>
                  <a:pt x="107" y="0"/>
                  <a:pt x="0" y="44"/>
                  <a:pt x="0" y="93"/>
                </a:cubicBezTo>
                <a:lnTo>
                  <a:pt x="0" y="430"/>
                </a:lnTo>
                <a:lnTo>
                  <a:pt x="0" y="430"/>
                </a:lnTo>
                <a:close/>
              </a:path>
            </a:pathLst>
          </a:custGeom>
          <a:solidFill>
            <a:schemeClr val="accent5">
              <a:lumMod val="90000"/>
              <a:lumOff val="10000"/>
            </a:schemeClr>
          </a:solidFill>
          <a:ln w="0">
            <a:noFill/>
            <a:prstDash val="solid"/>
            <a:round/>
            <a:headEnd/>
            <a:tailEnd/>
          </a:ln>
        </p:spPr>
        <p:txBody>
          <a:bodyPr vert="horz" wrap="square" lIns="91440" tIns="45720" rIns="91440" bIns="45720" numCol="1" anchor="ctr" anchorCtr="0" compatLnSpc="1">
            <a:prstTxWarp prst="textNoShape">
              <a:avLst/>
            </a:prstTxWarp>
          </a:bodyPr>
          <a:lstStyle/>
          <a:p>
            <a:pPr algn="ctr"/>
            <a:r>
              <a:rPr lang="en-US" sz="1400" b="1" dirty="0" smtClean="0">
                <a:solidFill>
                  <a:schemeClr val="bg1"/>
                </a:solidFill>
              </a:rPr>
              <a:t>BAK</a:t>
            </a:r>
            <a:endParaRPr lang="en-US" sz="1400" b="1" dirty="0">
              <a:solidFill>
                <a:schemeClr val="bg1"/>
              </a:solidFill>
            </a:endParaRPr>
          </a:p>
        </p:txBody>
      </p:sp>
      <p:cxnSp>
        <p:nvCxnSpPr>
          <p:cNvPr id="30" name="Straight Arrow Connector 29"/>
          <p:cNvCxnSpPr/>
          <p:nvPr/>
        </p:nvCxnSpPr>
        <p:spPr>
          <a:xfrm flipH="1" flipV="1">
            <a:off x="8646084" y="3780246"/>
            <a:ext cx="1501526" cy="1750759"/>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7383380" y="2659548"/>
            <a:ext cx="629568" cy="500288"/>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a:off x="7383380" y="3363946"/>
            <a:ext cx="629568" cy="290351"/>
          </a:xfrm>
          <a:prstGeom prst="straightConnector1">
            <a:avLst/>
          </a:prstGeom>
          <a:ln w="571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64748" y="1781854"/>
            <a:ext cx="2843599" cy="461665"/>
          </a:xfrm>
          <a:prstGeom prst="rect">
            <a:avLst/>
          </a:prstGeom>
        </p:spPr>
        <p:txBody>
          <a:bodyPr wrap="none">
            <a:spAutoFit/>
          </a:bodyPr>
          <a:lstStyle/>
          <a:p>
            <a:r>
              <a:rPr lang="en-US" sz="2400" dirty="0">
                <a:solidFill>
                  <a:srgbClr val="0072C6"/>
                </a:solidFill>
                <a:latin typeface="+mj-lt"/>
              </a:rPr>
              <a:t>SQL Server data files</a:t>
            </a:r>
          </a:p>
        </p:txBody>
      </p:sp>
    </p:spTree>
    <p:extLst>
      <p:ext uri="{BB962C8B-B14F-4D97-AF65-F5344CB8AC3E}">
        <p14:creationId xmlns:p14="http://schemas.microsoft.com/office/powerpoint/2010/main" val="75354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wipe(down)">
                                      <p:cBhvr>
                                        <p:cTn id="12" dur="500"/>
                                        <p:tgtEl>
                                          <p:spTgt spid="50"/>
                                        </p:tgtEl>
                                      </p:cBhvr>
                                    </p:animEffect>
                                  </p:childTnLst>
                                </p:cTn>
                              </p:par>
                            </p:childTnLst>
                          </p:cTn>
                        </p:par>
                        <p:par>
                          <p:cTn id="13" fill="hold">
                            <p:stCondLst>
                              <p:cond delay="500"/>
                            </p:stCondLst>
                            <p:childTnLst>
                              <p:par>
                                <p:cTn id="14" presetID="26" presetClass="emph" presetSubtype="0" fill="hold" nodeType="afterEffect">
                                  <p:stCondLst>
                                    <p:cond delay="0"/>
                                  </p:stCondLst>
                                  <p:childTnLst>
                                    <p:animEffect transition="out" filter="fade">
                                      <p:cBhvr>
                                        <p:cTn id="15" dur="500" tmFilter="0, 0; .2, .5; .8, .5; 1, 0"/>
                                        <p:tgtEl>
                                          <p:spTgt spid="19"/>
                                        </p:tgtEl>
                                      </p:cBhvr>
                                    </p:animEffect>
                                    <p:animScale>
                                      <p:cBhvr>
                                        <p:cTn id="16" dur="250" autoRev="1" fill="hold"/>
                                        <p:tgtEl>
                                          <p:spTgt spid="19"/>
                                        </p:tgtEl>
                                      </p:cBhvr>
                                      <p:by x="105000" y="105000"/>
                                    </p:animScale>
                                  </p:childTnLst>
                                </p:cTn>
                              </p:par>
                              <p:par>
                                <p:cTn id="17" presetID="26" presetClass="emph" presetSubtype="0" fill="hold" nodeType="withEffect">
                                  <p:stCondLst>
                                    <p:cond delay="0"/>
                                  </p:stCondLst>
                                  <p:childTnLst>
                                    <p:animEffect transition="out" filter="fade">
                                      <p:cBhvr>
                                        <p:cTn id="18" dur="500" tmFilter="0, 0; .2, .5; .8, .5; 1, 0"/>
                                        <p:tgtEl>
                                          <p:spTgt spid="21"/>
                                        </p:tgtEl>
                                      </p:cBhvr>
                                    </p:animEffect>
                                    <p:animScale>
                                      <p:cBhvr>
                                        <p:cTn id="19" dur="250" autoRev="1" fill="hold"/>
                                        <p:tgtEl>
                                          <p:spTgt spid="21"/>
                                        </p:tgtEl>
                                      </p:cBhvr>
                                      <p:by x="105000" y="105000"/>
                                    </p:animScale>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0"/>
                                        </p:tgtEl>
                                      </p:cBhvr>
                                    </p:animEffect>
                                    <p:set>
                                      <p:cBhvr>
                                        <p:cTn id="31" dur="1" fill="hold">
                                          <p:stCondLst>
                                            <p:cond delay="499"/>
                                          </p:stCondLst>
                                        </p:cTn>
                                        <p:tgtEl>
                                          <p:spTgt spid="50"/>
                                        </p:tgtEl>
                                        <p:attrNameLst>
                                          <p:attrName>style.visibility</p:attrName>
                                        </p:attrNameLst>
                                      </p:cBhvr>
                                      <p:to>
                                        <p:strVal val="hidden"/>
                                      </p:to>
                                    </p:set>
                                  </p:childTnLst>
                                </p:cTn>
                              </p:par>
                            </p:childTnLst>
                          </p:cTn>
                        </p:par>
                        <p:par>
                          <p:cTn id="32" fill="hold">
                            <p:stCondLst>
                              <p:cond delay="500"/>
                            </p:stCondLst>
                            <p:childTnLst>
                              <p:par>
                                <p:cTn id="33" presetID="22" presetClass="entr" presetSubtype="4"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wipe(down)">
                                      <p:cBhvr>
                                        <p:cTn id="35" dur="500"/>
                                        <p:tgtEl>
                                          <p:spTgt spid="30"/>
                                        </p:tgtEl>
                                      </p:cBhvr>
                                    </p:animEffect>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1500"/>
                            </p:stCondLst>
                            <p:childTnLst>
                              <p:par>
                                <p:cTn id="41" presetID="22" presetClass="entr" presetSubtype="2" fill="hold" nodeType="after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right)">
                                      <p:cBhvr>
                                        <p:cTn id="43" dur="500"/>
                                        <p:tgtEl>
                                          <p:spTgt spid="33"/>
                                        </p:tgtEl>
                                      </p:cBhvr>
                                    </p:animEffect>
                                  </p:childTnLst>
                                </p:cTn>
                              </p:par>
                              <p:par>
                                <p:cTn id="44" presetID="22" presetClass="entr" presetSubtype="2" fill="hold"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wipe(right)">
                                      <p:cBhvr>
                                        <p:cTn id="46" dur="500"/>
                                        <p:tgtEl>
                                          <p:spTgt spid="43"/>
                                        </p:tgtEl>
                                      </p:cBhvr>
                                    </p:animEffect>
                                  </p:childTnLst>
                                </p:cTn>
                              </p:par>
                            </p:childTnLst>
                          </p:cTn>
                        </p:par>
                        <p:par>
                          <p:cTn id="47" fill="hold">
                            <p:stCondLst>
                              <p:cond delay="2000"/>
                            </p:stCondLst>
                            <p:childTnLst>
                              <p:par>
                                <p:cTn id="48" presetID="10" presetClass="exit" presetSubtype="0" fill="hold" nodeType="afterEffect">
                                  <p:stCondLst>
                                    <p:cond delay="0"/>
                                  </p:stCondLst>
                                  <p:childTnLst>
                                    <p:animEffect transition="out" filter="fade">
                                      <p:cBhvr>
                                        <p:cTn id="49" dur="500"/>
                                        <p:tgtEl>
                                          <p:spTgt spid="30"/>
                                        </p:tgtEl>
                                      </p:cBhvr>
                                    </p:animEffect>
                                    <p:set>
                                      <p:cBhvr>
                                        <p:cTn id="50"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6" grpId="0" animBg="1"/>
      <p:bldP spid="38" grpId="0" animBg="1"/>
      <p:bldP spid="4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365760"/>
            <a:ext cx="11887518" cy="836518"/>
          </a:xfrm>
          <a:noFill/>
        </p:spPr>
        <p:txBody>
          <a:bodyPr>
            <a:noAutofit/>
          </a:bodyPr>
          <a:lstStyle/>
          <a:p>
            <a:r>
              <a:rPr lang="en-US" dirty="0" smtClean="0"/>
              <a:t>Point-in-time </a:t>
            </a:r>
            <a:r>
              <a:rPr lang="en-US" dirty="0"/>
              <a:t>r</a:t>
            </a:r>
            <a:r>
              <a:rPr lang="en-US" dirty="0" smtClean="0"/>
              <a:t>estore </a:t>
            </a:r>
            <a:r>
              <a:rPr lang="en-US" dirty="0"/>
              <a:t>with </a:t>
            </a:r>
            <a:r>
              <a:rPr lang="en-US" dirty="0" smtClean="0"/>
              <a:t>file snapshots </a:t>
            </a:r>
            <a:br>
              <a:rPr lang="en-US" dirty="0" smtClean="0"/>
            </a:br>
            <a:endParaRPr lang="en-US" sz="2800" dirty="0">
              <a:gradFill>
                <a:gsLst>
                  <a:gs pos="2655">
                    <a:schemeClr val="tx1"/>
                  </a:gs>
                  <a:gs pos="31000">
                    <a:schemeClr val="tx1"/>
                  </a:gs>
                </a:gsLst>
                <a:lin ang="5400000" scaled="0"/>
              </a:gradFill>
            </a:endParaRPr>
          </a:p>
        </p:txBody>
      </p:sp>
      <p:sp>
        <p:nvSpPr>
          <p:cNvPr id="6" name="Объект 5"/>
          <p:cNvSpPr>
            <a:spLocks noGrp="1"/>
          </p:cNvSpPr>
          <p:nvPr>
            <p:ph sz="quarter" idx="10"/>
          </p:nvPr>
        </p:nvSpPr>
        <p:spPr>
          <a:xfrm>
            <a:off x="9144000" y="1708546"/>
            <a:ext cx="2941332" cy="2056041"/>
          </a:xfrm>
          <a:prstGeom prst="rect">
            <a:avLst/>
          </a:prstGeom>
        </p:spPr>
        <p:txBody>
          <a:bodyPr lIns="91440" tIns="91440" rIns="91440" bIns="91440">
            <a:normAutofit/>
          </a:bodyPr>
          <a:lstStyle/>
          <a:p>
            <a:pPr>
              <a:spcBef>
                <a:spcPts val="600"/>
              </a:spcBef>
              <a:spcAft>
                <a:spcPts val="600"/>
              </a:spcAft>
            </a:pPr>
            <a:r>
              <a:rPr lang="en-US" sz="1800" dirty="0">
                <a:solidFill>
                  <a:srgbClr val="002060"/>
                </a:solidFill>
              </a:rPr>
              <a:t>Traditional backup</a:t>
            </a:r>
          </a:p>
          <a:p>
            <a:pPr indent="-241188">
              <a:lnSpc>
                <a:spcPct val="100000"/>
              </a:lnSpc>
              <a:spcBef>
                <a:spcPts val="600"/>
              </a:spcBef>
              <a:spcAft>
                <a:spcPts val="600"/>
              </a:spcAft>
            </a:pPr>
            <a:r>
              <a:rPr lang="en-US" sz="1600" dirty="0">
                <a:solidFill>
                  <a:schemeClr val="tx1"/>
                </a:solidFill>
              </a:rPr>
              <a:t>Multiple backup types</a:t>
            </a:r>
          </a:p>
          <a:p>
            <a:pPr indent="-241188">
              <a:lnSpc>
                <a:spcPct val="100000"/>
              </a:lnSpc>
              <a:spcBef>
                <a:spcPts val="600"/>
              </a:spcBef>
              <a:spcAft>
                <a:spcPts val="600"/>
              </a:spcAft>
            </a:pPr>
            <a:r>
              <a:rPr lang="en-US" sz="1600" dirty="0">
                <a:solidFill>
                  <a:schemeClr val="tx1"/>
                </a:solidFill>
              </a:rPr>
              <a:t>Complex </a:t>
            </a:r>
            <a:r>
              <a:rPr lang="en-US" sz="1600" dirty="0" smtClean="0">
                <a:solidFill>
                  <a:schemeClr val="tx1"/>
                </a:solidFill>
              </a:rPr>
              <a:t>point-in-time </a:t>
            </a:r>
            <a:r>
              <a:rPr lang="en-US" sz="1600" dirty="0">
                <a:solidFill>
                  <a:schemeClr val="tx1"/>
                </a:solidFill>
              </a:rPr>
              <a:t>restore process</a:t>
            </a:r>
          </a:p>
        </p:txBody>
      </p:sp>
      <p:sp>
        <p:nvSpPr>
          <p:cNvPr id="26" name="Объект 5"/>
          <p:cNvSpPr txBox="1">
            <a:spLocks/>
          </p:cNvSpPr>
          <p:nvPr/>
        </p:nvSpPr>
        <p:spPr>
          <a:xfrm>
            <a:off x="9144000" y="4327225"/>
            <a:ext cx="2636837" cy="2378574"/>
          </a:xfrm>
          <a:prstGeom prst="rect">
            <a:avLst/>
          </a:prstGeom>
        </p:spPr>
        <p:txBody>
          <a:bodyPr vert="horz" lIns="93260" tIns="91440" rIns="93260" bIns="9144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None/>
            </a:pPr>
            <a:r>
              <a:rPr lang="en-US" sz="1800" dirty="0">
                <a:solidFill>
                  <a:srgbClr val="002060"/>
                </a:solidFill>
              </a:rPr>
              <a:t>Backup to Azure with </a:t>
            </a:r>
            <a:r>
              <a:rPr lang="en-US" sz="1800" dirty="0" smtClean="0">
                <a:solidFill>
                  <a:srgbClr val="002060"/>
                </a:solidFill>
              </a:rPr>
              <a:t>file </a:t>
            </a:r>
            <a:r>
              <a:rPr lang="en-US" sz="1800" dirty="0">
                <a:solidFill>
                  <a:srgbClr val="002060"/>
                </a:solidFill>
              </a:rPr>
              <a:t>s</a:t>
            </a:r>
            <a:r>
              <a:rPr lang="en-US" sz="1800" dirty="0" smtClean="0">
                <a:solidFill>
                  <a:srgbClr val="002060"/>
                </a:solidFill>
              </a:rPr>
              <a:t>napshots </a:t>
            </a:r>
            <a:endParaRPr lang="en-US" sz="1800" dirty="0">
              <a:solidFill>
                <a:srgbClr val="002060"/>
              </a:solidFill>
            </a:endParaRPr>
          </a:p>
          <a:p>
            <a:pPr marL="0" indent="0">
              <a:lnSpc>
                <a:spcPct val="120000"/>
              </a:lnSpc>
              <a:spcBef>
                <a:spcPts val="600"/>
              </a:spcBef>
              <a:spcAft>
                <a:spcPts val="600"/>
              </a:spcAft>
              <a:buNone/>
            </a:pPr>
            <a:r>
              <a:rPr lang="en-US" sz="1600" dirty="0"/>
              <a:t>Full backup only once </a:t>
            </a:r>
          </a:p>
          <a:p>
            <a:pPr marL="0" indent="0">
              <a:lnSpc>
                <a:spcPct val="100000"/>
              </a:lnSpc>
              <a:spcBef>
                <a:spcPts val="600"/>
              </a:spcBef>
              <a:buNone/>
            </a:pPr>
            <a:r>
              <a:rPr lang="en-US" sz="1600" dirty="0" smtClean="0"/>
              <a:t>Point-in-time restore only </a:t>
            </a:r>
            <a:r>
              <a:rPr lang="en-US" sz="1600" dirty="0"/>
              <a:t>needs </a:t>
            </a:r>
            <a:r>
              <a:rPr lang="en-US" sz="1600" dirty="0" smtClean="0"/>
              <a:t>two </a:t>
            </a:r>
            <a:r>
              <a:rPr lang="en-US" sz="1600" dirty="0"/>
              <a:t>adjacent backups</a:t>
            </a:r>
          </a:p>
        </p:txBody>
      </p:sp>
      <p:grpSp>
        <p:nvGrpSpPr>
          <p:cNvPr id="2" name="Group 1"/>
          <p:cNvGrpSpPr/>
          <p:nvPr/>
        </p:nvGrpSpPr>
        <p:grpSpPr>
          <a:xfrm>
            <a:off x="448797" y="1796107"/>
            <a:ext cx="7795511" cy="1722554"/>
            <a:chOff x="446882" y="2220178"/>
            <a:chExt cx="7795511" cy="1722554"/>
          </a:xfrm>
        </p:grpSpPr>
        <p:grpSp>
          <p:nvGrpSpPr>
            <p:cNvPr id="4" name="Group 3"/>
            <p:cNvGrpSpPr/>
            <p:nvPr/>
          </p:nvGrpSpPr>
          <p:grpSpPr>
            <a:xfrm>
              <a:off x="480560" y="2220178"/>
              <a:ext cx="7723992" cy="1217133"/>
              <a:chOff x="875197" y="1331909"/>
              <a:chExt cx="7723992" cy="1217133"/>
            </a:xfrm>
          </p:grpSpPr>
          <p:sp>
            <p:nvSpPr>
              <p:cNvPr id="7" name="TextBox 6"/>
              <p:cNvSpPr txBox="1"/>
              <p:nvPr/>
            </p:nvSpPr>
            <p:spPr>
              <a:xfrm>
                <a:off x="875197" y="1348713"/>
                <a:ext cx="680023" cy="1200329"/>
              </a:xfrm>
              <a:prstGeom prst="rect">
                <a:avLst/>
              </a:prstGeom>
              <a:solidFill>
                <a:schemeClr val="accent5">
                  <a:lumMod val="75000"/>
                  <a:lumOff val="25000"/>
                </a:schemeClr>
              </a:solidFill>
              <a:ln w="57150">
                <a:noFill/>
              </a:ln>
            </p:spPr>
            <p:style>
              <a:lnRef idx="2">
                <a:schemeClr val="dk1">
                  <a:shade val="50000"/>
                </a:schemeClr>
              </a:lnRef>
              <a:fillRef idx="1">
                <a:schemeClr val="dk1"/>
              </a:fillRef>
              <a:effectRef idx="0">
                <a:schemeClr val="dk1"/>
              </a:effectRef>
              <a:fontRef idx="minor">
                <a:schemeClr val="lt1"/>
              </a:fontRef>
            </p:style>
            <p:txBody>
              <a:bodyPr rtlCol="0">
                <a:spAutoFit/>
              </a:bodyPr>
              <a:lstStyle/>
              <a:p>
                <a:pPr algn="ctr"/>
                <a:r>
                  <a:rPr lang="af-ZA" dirty="0">
                    <a:latin typeface=""/>
                  </a:rPr>
                  <a:t>Full</a:t>
                </a:r>
              </a:p>
              <a:p>
                <a:pPr algn="ctr"/>
                <a:endParaRPr lang="af-ZA" dirty="0">
                  <a:latin typeface=""/>
                </a:endParaRPr>
              </a:p>
              <a:p>
                <a:pPr algn="ctr"/>
                <a:endParaRPr lang="af-ZA" dirty="0">
                  <a:latin typeface=""/>
                </a:endParaRPr>
              </a:p>
              <a:p>
                <a:pPr algn="ctr"/>
                <a:endParaRPr lang="ru-RU" dirty="0">
                  <a:latin typeface=""/>
                </a:endParaRPr>
              </a:p>
            </p:txBody>
          </p:sp>
          <p:sp>
            <p:nvSpPr>
              <p:cNvPr id="8" name="TextBox 7"/>
              <p:cNvSpPr txBox="1"/>
              <p:nvPr/>
            </p:nvSpPr>
            <p:spPr>
              <a:xfrm>
                <a:off x="1610270" y="1348713"/>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9" name="TextBox 8"/>
              <p:cNvSpPr txBox="1"/>
              <p:nvPr/>
            </p:nvSpPr>
            <p:spPr>
              <a:xfrm>
                <a:off x="2223124" y="1348252"/>
                <a:ext cx="575434"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0" name="TextBox 9"/>
              <p:cNvSpPr txBox="1"/>
              <p:nvPr/>
            </p:nvSpPr>
            <p:spPr>
              <a:xfrm>
                <a:off x="2827703" y="1348252"/>
                <a:ext cx="599515"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1" name="TextBox 10"/>
              <p:cNvSpPr txBox="1"/>
              <p:nvPr/>
            </p:nvSpPr>
            <p:spPr>
              <a:xfrm>
                <a:off x="3489472" y="1348252"/>
                <a:ext cx="680917" cy="646331"/>
              </a:xfrm>
              <a:prstGeom prst="rect">
                <a:avLst/>
              </a:prstGeom>
              <a:solidFill>
                <a:schemeClr val="bg2">
                  <a:lumMod val="5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spAutoFit/>
              </a:bodyPr>
              <a:lstStyle/>
              <a:p>
                <a:pPr algn="ctr"/>
                <a:r>
                  <a:rPr lang="af-ZA" dirty="0">
                    <a:latin typeface=""/>
                  </a:rPr>
                  <a:t>Diff</a:t>
                </a:r>
              </a:p>
              <a:p>
                <a:pPr algn="ctr"/>
                <a:endParaRPr lang="ru-RU" dirty="0"/>
              </a:p>
            </p:txBody>
          </p:sp>
          <p:sp>
            <p:nvSpPr>
              <p:cNvPr id="12" name="TextBox 11"/>
              <p:cNvSpPr txBox="1"/>
              <p:nvPr/>
            </p:nvSpPr>
            <p:spPr>
              <a:xfrm>
                <a:off x="4216600"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3" name="TextBox 12"/>
              <p:cNvSpPr txBox="1"/>
              <p:nvPr/>
            </p:nvSpPr>
            <p:spPr>
              <a:xfrm>
                <a:off x="4829349"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4" name="TextBox 13"/>
              <p:cNvSpPr txBox="1"/>
              <p:nvPr/>
            </p:nvSpPr>
            <p:spPr>
              <a:xfrm>
                <a:off x="5442097" y="1340081"/>
                <a:ext cx="575378" cy="369332"/>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15" name="TextBox 14"/>
              <p:cNvSpPr txBox="1"/>
              <p:nvPr/>
            </p:nvSpPr>
            <p:spPr>
              <a:xfrm>
                <a:off x="6071186" y="1340081"/>
                <a:ext cx="680917" cy="646331"/>
              </a:xfrm>
              <a:prstGeom prst="rect">
                <a:avLst/>
              </a:prstGeom>
              <a:solidFill>
                <a:schemeClr val="accent5">
                  <a:lumMod val="75000"/>
                  <a:lumOff val="25000"/>
                </a:schemeClr>
              </a:solidFill>
              <a:ln>
                <a:solidFill>
                  <a:srgbClr val="0072C6"/>
                </a:solidFill>
              </a:ln>
            </p:spPr>
            <p:style>
              <a:lnRef idx="2">
                <a:schemeClr val="accent5">
                  <a:shade val="50000"/>
                </a:schemeClr>
              </a:lnRef>
              <a:fillRef idx="1">
                <a:schemeClr val="accent5"/>
              </a:fillRef>
              <a:effectRef idx="0">
                <a:schemeClr val="accent5"/>
              </a:effectRef>
              <a:fontRef idx="minor">
                <a:schemeClr val="lt1"/>
              </a:fontRef>
            </p:style>
            <p:txBody>
              <a:bodyPr rtlCol="0">
                <a:spAutoFit/>
              </a:bodyPr>
              <a:lstStyle/>
              <a:p>
                <a:pPr algn="ctr"/>
                <a:r>
                  <a:rPr lang="af-ZA" dirty="0" smtClean="0">
                    <a:latin typeface=""/>
                  </a:rPr>
                  <a:t>Diff</a:t>
                </a:r>
                <a:endParaRPr lang="ru-RU" dirty="0"/>
              </a:p>
              <a:p>
                <a:pPr algn="ctr"/>
                <a:endParaRPr lang="ru-RU" dirty="0"/>
              </a:p>
            </p:txBody>
          </p:sp>
          <p:sp>
            <p:nvSpPr>
              <p:cNvPr id="16" name="TextBox 15"/>
              <p:cNvSpPr txBox="1"/>
              <p:nvPr/>
            </p:nvSpPr>
            <p:spPr>
              <a:xfrm>
                <a:off x="6798314" y="1331909"/>
                <a:ext cx="575378" cy="369332"/>
              </a:xfrm>
              <a:prstGeom prst="rect">
                <a:avLst/>
              </a:prstGeom>
              <a:solidFill>
                <a:schemeClr val="accent5">
                  <a:lumMod val="75000"/>
                  <a:lumOff val="25000"/>
                </a:schemeClr>
              </a:solidFill>
              <a:ln>
                <a:solidFill>
                  <a:srgbClr val="0072C6"/>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17" name="TextBox 16"/>
              <p:cNvSpPr txBox="1"/>
              <p:nvPr/>
            </p:nvSpPr>
            <p:spPr>
              <a:xfrm>
                <a:off x="7411063" y="1331909"/>
                <a:ext cx="575378" cy="369332"/>
              </a:xfrm>
              <a:prstGeom prst="rect">
                <a:avLst/>
              </a:prstGeom>
              <a:solidFill>
                <a:schemeClr val="accent5">
                  <a:lumMod val="75000"/>
                  <a:lumOff val="25000"/>
                </a:schemeClr>
              </a:solidFill>
              <a:ln>
                <a:solidFill>
                  <a:srgbClr val="0072C6"/>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18" name="TextBox 17"/>
              <p:cNvSpPr txBox="1"/>
              <p:nvPr/>
            </p:nvSpPr>
            <p:spPr>
              <a:xfrm>
                <a:off x="8023811" y="1331909"/>
                <a:ext cx="575378" cy="369332"/>
              </a:xfrm>
              <a:prstGeom prst="rect">
                <a:avLst/>
              </a:prstGeom>
              <a:solidFill>
                <a:schemeClr val="accent5">
                  <a:lumMod val="75000"/>
                  <a:lumOff val="25000"/>
                </a:schemeClr>
              </a:solidFill>
              <a:ln>
                <a:solidFill>
                  <a:srgbClr val="0072C6"/>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grpSp>
        <p:cxnSp>
          <p:nvCxnSpPr>
            <p:cNvPr id="23" name="Straight Arrow Connector 22"/>
            <p:cNvCxnSpPr/>
            <p:nvPr/>
          </p:nvCxnSpPr>
          <p:spPr>
            <a:xfrm>
              <a:off x="446882" y="3586788"/>
              <a:ext cx="779551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6671120" y="3398151"/>
              <a:ext cx="690611" cy="544581"/>
              <a:chOff x="6786149" y="3492298"/>
              <a:chExt cx="690611" cy="544581"/>
            </a:xfrm>
          </p:grpSpPr>
          <p:grpSp>
            <p:nvGrpSpPr>
              <p:cNvPr id="67" name="Group 4"/>
              <p:cNvGrpSpPr>
                <a:grpSpLocks noChangeAspect="1"/>
              </p:cNvGrpSpPr>
              <p:nvPr/>
            </p:nvGrpSpPr>
            <p:grpSpPr bwMode="auto">
              <a:xfrm>
                <a:off x="6786149" y="3497729"/>
                <a:ext cx="690611" cy="539150"/>
                <a:chOff x="5917" y="2181"/>
                <a:chExt cx="497" cy="388"/>
              </a:xfrm>
              <a:solidFill>
                <a:schemeClr val="bg1"/>
              </a:solidFill>
            </p:grpSpPr>
            <p:sp>
              <p:nvSpPr>
                <p:cNvPr id="68"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69"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39" name="Group 4"/>
              <p:cNvGrpSpPr>
                <a:grpSpLocks noChangeAspect="1"/>
              </p:cNvGrpSpPr>
              <p:nvPr/>
            </p:nvGrpSpPr>
            <p:grpSpPr bwMode="auto">
              <a:xfrm>
                <a:off x="6786149" y="3492298"/>
                <a:ext cx="690611" cy="539150"/>
                <a:chOff x="5917" y="2181"/>
                <a:chExt cx="497" cy="388"/>
              </a:xfrm>
              <a:solidFill>
                <a:schemeClr val="tx2"/>
              </a:solidFill>
            </p:grpSpPr>
            <p:sp>
              <p:nvSpPr>
                <p:cNvPr id="54"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55"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grpSp>
      </p:grpSp>
      <p:grpSp>
        <p:nvGrpSpPr>
          <p:cNvPr id="5" name="Group 4"/>
          <p:cNvGrpSpPr/>
          <p:nvPr/>
        </p:nvGrpSpPr>
        <p:grpSpPr>
          <a:xfrm>
            <a:off x="448797" y="4419989"/>
            <a:ext cx="8419174" cy="1641104"/>
            <a:chOff x="409041" y="4844060"/>
            <a:chExt cx="8419174" cy="1641104"/>
          </a:xfrm>
        </p:grpSpPr>
        <p:sp>
          <p:nvSpPr>
            <p:cNvPr id="28" name="TextBox 27"/>
            <p:cNvSpPr txBox="1"/>
            <p:nvPr/>
          </p:nvSpPr>
          <p:spPr>
            <a:xfrm>
              <a:off x="1714803"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29" name="TextBox 28"/>
            <p:cNvSpPr txBox="1"/>
            <p:nvPr/>
          </p:nvSpPr>
          <p:spPr>
            <a:xfrm>
              <a:off x="2363561"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0" name="TextBox 29"/>
            <p:cNvSpPr txBox="1"/>
            <p:nvPr/>
          </p:nvSpPr>
          <p:spPr>
            <a:xfrm>
              <a:off x="3004149"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1" name="TextBox 30"/>
            <p:cNvSpPr txBox="1"/>
            <p:nvPr/>
          </p:nvSpPr>
          <p:spPr>
            <a:xfrm>
              <a:off x="3644737"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2" name="TextBox 31"/>
            <p:cNvSpPr txBox="1"/>
            <p:nvPr/>
          </p:nvSpPr>
          <p:spPr>
            <a:xfrm>
              <a:off x="4285325"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3" name="TextBox 32"/>
            <p:cNvSpPr txBox="1"/>
            <p:nvPr/>
          </p:nvSpPr>
          <p:spPr>
            <a:xfrm>
              <a:off x="4925913"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4" name="TextBox 33"/>
            <p:cNvSpPr txBox="1"/>
            <p:nvPr/>
          </p:nvSpPr>
          <p:spPr>
            <a:xfrm>
              <a:off x="5566501"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35" name="TextBox 34"/>
            <p:cNvSpPr txBox="1"/>
            <p:nvPr/>
          </p:nvSpPr>
          <p:spPr>
            <a:xfrm>
              <a:off x="6207089" y="4844060"/>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sp>
          <p:nvSpPr>
            <p:cNvPr id="45" name="TextBox 44"/>
            <p:cNvSpPr txBox="1"/>
            <p:nvPr/>
          </p:nvSpPr>
          <p:spPr>
            <a:xfrm>
              <a:off x="6847677" y="4844865"/>
              <a:ext cx="575378" cy="374846"/>
            </a:xfrm>
            <a:prstGeom prst="rect">
              <a:avLst/>
            </a:prstGeom>
            <a:solidFill>
              <a:schemeClr val="bg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46" name="TextBox 45"/>
            <p:cNvSpPr txBox="1"/>
            <p:nvPr/>
          </p:nvSpPr>
          <p:spPr>
            <a:xfrm>
              <a:off x="7488265" y="4844865"/>
              <a:ext cx="575378" cy="374846"/>
            </a:xfrm>
            <a:prstGeom prst="rect">
              <a:avLst/>
            </a:prstGeom>
            <a:solidFill>
              <a:schemeClr val="accent5">
                <a:lumMod val="75000"/>
                <a:lumOff val="25000"/>
              </a:schemeClr>
            </a:solidFill>
            <a:ln>
              <a:solidFill>
                <a:srgbClr val="0072C6"/>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dirty="0">
                  <a:latin typeface=""/>
                </a:rPr>
                <a:t>Log</a:t>
              </a:r>
              <a:endParaRPr lang="ru-RU" dirty="0"/>
            </a:p>
          </p:txBody>
        </p:sp>
        <p:sp>
          <p:nvSpPr>
            <p:cNvPr id="47" name="TextBox 46"/>
            <p:cNvSpPr txBox="1"/>
            <p:nvPr/>
          </p:nvSpPr>
          <p:spPr>
            <a:xfrm>
              <a:off x="8128853" y="4844865"/>
              <a:ext cx="575378" cy="374846"/>
            </a:xfrm>
            <a:prstGeom prst="rect">
              <a:avLst/>
            </a:prstGeom>
            <a:solidFill>
              <a:schemeClr val="accent5">
                <a:lumMod val="75000"/>
                <a:lumOff val="25000"/>
              </a:schemeClr>
            </a:solidFill>
            <a:ln>
              <a:solidFill>
                <a:srgbClr val="0072C6"/>
              </a:solidFill>
            </a:ln>
          </p:spPr>
          <p:style>
            <a:lnRef idx="2">
              <a:schemeClr val="accent6">
                <a:shade val="50000"/>
              </a:schemeClr>
            </a:lnRef>
            <a:fillRef idx="1">
              <a:schemeClr val="accent6"/>
            </a:fillRef>
            <a:effectRef idx="0">
              <a:schemeClr val="accent6"/>
            </a:effectRef>
            <a:fontRef idx="minor">
              <a:schemeClr val="lt1"/>
            </a:fontRef>
          </p:style>
          <p:txBody>
            <a:bodyPr rtlCol="0">
              <a:spAutoFit/>
            </a:bodyPr>
            <a:lstStyle/>
            <a:p>
              <a:pPr algn="ctr"/>
              <a:r>
                <a:rPr lang="af-ZA">
                  <a:latin typeface=""/>
                </a:rPr>
                <a:t>Log</a:t>
              </a:r>
              <a:endParaRPr lang="ru-RU"/>
            </a:p>
          </p:txBody>
        </p:sp>
        <p:cxnSp>
          <p:nvCxnSpPr>
            <p:cNvPr id="56" name="Straight Arrow Connector 55"/>
            <p:cNvCxnSpPr/>
            <p:nvPr/>
          </p:nvCxnSpPr>
          <p:spPr>
            <a:xfrm>
              <a:off x="409041" y="6196400"/>
              <a:ext cx="8419174"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160583" y="5018605"/>
              <a:ext cx="512099" cy="0"/>
            </a:xfrm>
            <a:prstGeom prst="line">
              <a:avLst/>
            </a:prstGeom>
            <a:ln w="381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409041" y="4851631"/>
              <a:ext cx="680023" cy="1200329"/>
            </a:xfrm>
            <a:prstGeom prst="rect">
              <a:avLst/>
            </a:prstGeom>
            <a:solidFill>
              <a:schemeClr val="tx1"/>
            </a:solidFill>
            <a:ln w="57150">
              <a:noFill/>
            </a:ln>
          </p:spPr>
          <p:style>
            <a:lnRef idx="2">
              <a:schemeClr val="dk1">
                <a:shade val="50000"/>
              </a:schemeClr>
            </a:lnRef>
            <a:fillRef idx="1">
              <a:schemeClr val="dk1"/>
            </a:fillRef>
            <a:effectRef idx="0">
              <a:schemeClr val="dk1"/>
            </a:effectRef>
            <a:fontRef idx="minor">
              <a:schemeClr val="lt1"/>
            </a:fontRef>
          </p:style>
          <p:txBody>
            <a:bodyPr rtlCol="0">
              <a:spAutoFit/>
            </a:bodyPr>
            <a:lstStyle/>
            <a:p>
              <a:pPr algn="ctr"/>
              <a:r>
                <a:rPr lang="af-ZA" dirty="0">
                  <a:latin typeface=""/>
                </a:rPr>
                <a:t>Full</a:t>
              </a:r>
            </a:p>
            <a:p>
              <a:pPr algn="ctr"/>
              <a:endParaRPr lang="af-ZA" dirty="0">
                <a:latin typeface=""/>
              </a:endParaRPr>
            </a:p>
            <a:p>
              <a:pPr algn="ctr"/>
              <a:endParaRPr lang="af-ZA" dirty="0">
                <a:latin typeface=""/>
              </a:endParaRPr>
            </a:p>
            <a:p>
              <a:pPr algn="ctr"/>
              <a:endParaRPr lang="ru-RU" dirty="0">
                <a:latin typeface=""/>
              </a:endParaRPr>
            </a:p>
          </p:txBody>
        </p:sp>
        <p:grpSp>
          <p:nvGrpSpPr>
            <p:cNvPr id="82" name="Group 81"/>
            <p:cNvGrpSpPr/>
            <p:nvPr/>
          </p:nvGrpSpPr>
          <p:grpSpPr>
            <a:xfrm>
              <a:off x="7387388" y="5940583"/>
              <a:ext cx="690611" cy="544581"/>
              <a:chOff x="6786149" y="3492298"/>
              <a:chExt cx="690611" cy="544581"/>
            </a:xfrm>
          </p:grpSpPr>
          <p:grpSp>
            <p:nvGrpSpPr>
              <p:cNvPr id="83" name="Group 4"/>
              <p:cNvGrpSpPr>
                <a:grpSpLocks noChangeAspect="1"/>
              </p:cNvGrpSpPr>
              <p:nvPr/>
            </p:nvGrpSpPr>
            <p:grpSpPr bwMode="auto">
              <a:xfrm>
                <a:off x="6786149" y="3497729"/>
                <a:ext cx="690611" cy="539150"/>
                <a:chOff x="5917" y="2181"/>
                <a:chExt cx="497" cy="388"/>
              </a:xfrm>
              <a:solidFill>
                <a:schemeClr val="bg1"/>
              </a:solidFill>
            </p:grpSpPr>
            <p:sp>
              <p:nvSpPr>
                <p:cNvPr id="87"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88"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w="57150">
                  <a:solidFill>
                    <a:schemeClr val="bg1"/>
                  </a:solid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grpSp>
          <p:grpSp>
            <p:nvGrpSpPr>
              <p:cNvPr id="84" name="Group 4"/>
              <p:cNvGrpSpPr>
                <a:grpSpLocks noChangeAspect="1"/>
              </p:cNvGrpSpPr>
              <p:nvPr/>
            </p:nvGrpSpPr>
            <p:grpSpPr bwMode="auto">
              <a:xfrm>
                <a:off x="6786149" y="3492298"/>
                <a:ext cx="690611" cy="539150"/>
                <a:chOff x="5917" y="2181"/>
                <a:chExt cx="497" cy="388"/>
              </a:xfrm>
              <a:solidFill>
                <a:schemeClr val="tx2"/>
              </a:solidFill>
            </p:grpSpPr>
            <p:sp>
              <p:nvSpPr>
                <p:cNvPr id="85" name="Freeform 5"/>
                <p:cNvSpPr>
                  <a:spLocks noEditPoints="1"/>
                </p:cNvSpPr>
                <p:nvPr/>
              </p:nvSpPr>
              <p:spPr bwMode="auto">
                <a:xfrm>
                  <a:off x="5917" y="2181"/>
                  <a:ext cx="497" cy="388"/>
                </a:xfrm>
                <a:custGeom>
                  <a:avLst/>
                  <a:gdLst>
                    <a:gd name="T0" fmla="*/ 493 w 709"/>
                    <a:gd name="T1" fmla="*/ 419 h 553"/>
                    <a:gd name="T2" fmla="*/ 471 w 709"/>
                    <a:gd name="T3" fmla="*/ 438 h 553"/>
                    <a:gd name="T4" fmla="*/ 452 w 709"/>
                    <a:gd name="T5" fmla="*/ 450 h 553"/>
                    <a:gd name="T6" fmla="*/ 441 w 709"/>
                    <a:gd name="T7" fmla="*/ 456 h 553"/>
                    <a:gd name="T8" fmla="*/ 426 w 709"/>
                    <a:gd name="T9" fmla="*/ 462 h 553"/>
                    <a:gd name="T10" fmla="*/ 414 w 709"/>
                    <a:gd name="T11" fmla="*/ 466 h 553"/>
                    <a:gd name="T12" fmla="*/ 403 w 709"/>
                    <a:gd name="T13" fmla="*/ 470 h 553"/>
                    <a:gd name="T14" fmla="*/ 392 w 709"/>
                    <a:gd name="T15" fmla="*/ 472 h 553"/>
                    <a:gd name="T16" fmla="*/ 379 w 709"/>
                    <a:gd name="T17" fmla="*/ 474 h 553"/>
                    <a:gd name="T18" fmla="*/ 368 w 709"/>
                    <a:gd name="T19" fmla="*/ 475 h 553"/>
                    <a:gd name="T20" fmla="*/ 354 w 709"/>
                    <a:gd name="T21" fmla="*/ 476 h 553"/>
                    <a:gd name="T22" fmla="*/ 305 w 709"/>
                    <a:gd name="T23" fmla="*/ 469 h 553"/>
                    <a:gd name="T24" fmla="*/ 230 w 709"/>
                    <a:gd name="T25" fmla="*/ 277 h 553"/>
                    <a:gd name="T26" fmla="*/ 0 w 709"/>
                    <a:gd name="T27" fmla="*/ 277 h 553"/>
                    <a:gd name="T28" fmla="*/ 241 w 709"/>
                    <a:gd name="T29" fmla="*/ 529 h 553"/>
                    <a:gd name="T30" fmla="*/ 364 w 709"/>
                    <a:gd name="T31" fmla="*/ 553 h 553"/>
                    <a:gd name="T32" fmla="*/ 380 w 709"/>
                    <a:gd name="T33" fmla="*/ 552 h 553"/>
                    <a:gd name="T34" fmla="*/ 395 w 709"/>
                    <a:gd name="T35" fmla="*/ 550 h 553"/>
                    <a:gd name="T36" fmla="*/ 409 w 709"/>
                    <a:gd name="T37" fmla="*/ 548 h 553"/>
                    <a:gd name="T38" fmla="*/ 423 w 709"/>
                    <a:gd name="T39" fmla="*/ 545 h 553"/>
                    <a:gd name="T40" fmla="*/ 438 w 709"/>
                    <a:gd name="T41" fmla="*/ 540 h 553"/>
                    <a:gd name="T42" fmla="*/ 453 w 709"/>
                    <a:gd name="T43" fmla="*/ 535 h 553"/>
                    <a:gd name="T44" fmla="*/ 466 w 709"/>
                    <a:gd name="T45" fmla="*/ 530 h 553"/>
                    <a:gd name="T46" fmla="*/ 479 w 709"/>
                    <a:gd name="T47" fmla="*/ 524 h 553"/>
                    <a:gd name="T48" fmla="*/ 491 w 709"/>
                    <a:gd name="T49" fmla="*/ 517 h 553"/>
                    <a:gd name="T50" fmla="*/ 517 w 709"/>
                    <a:gd name="T51" fmla="*/ 500 h 553"/>
                    <a:gd name="T52" fmla="*/ 528 w 709"/>
                    <a:gd name="T53" fmla="*/ 492 h 553"/>
                    <a:gd name="T54" fmla="*/ 539 w 709"/>
                    <a:gd name="T55" fmla="*/ 482 h 553"/>
                    <a:gd name="T56" fmla="*/ 549 w 709"/>
                    <a:gd name="T57" fmla="*/ 473 h 553"/>
                    <a:gd name="T58" fmla="*/ 631 w 709"/>
                    <a:gd name="T59" fmla="*/ 277 h 553"/>
                    <a:gd name="T60" fmla="*/ 344 w 709"/>
                    <a:gd name="T61" fmla="*/ 1 h 553"/>
                    <a:gd name="T62" fmla="*/ 329 w 709"/>
                    <a:gd name="T63" fmla="*/ 1 h 553"/>
                    <a:gd name="T64" fmla="*/ 314 w 709"/>
                    <a:gd name="T65" fmla="*/ 3 h 553"/>
                    <a:gd name="T66" fmla="*/ 300 w 709"/>
                    <a:gd name="T67" fmla="*/ 6 h 553"/>
                    <a:gd name="T68" fmla="*/ 286 w 709"/>
                    <a:gd name="T69" fmla="*/ 9 h 553"/>
                    <a:gd name="T70" fmla="*/ 270 w 709"/>
                    <a:gd name="T71" fmla="*/ 13 h 553"/>
                    <a:gd name="T72" fmla="*/ 256 w 709"/>
                    <a:gd name="T73" fmla="*/ 18 h 553"/>
                    <a:gd name="T74" fmla="*/ 243 w 709"/>
                    <a:gd name="T75" fmla="*/ 24 h 553"/>
                    <a:gd name="T76" fmla="*/ 230 w 709"/>
                    <a:gd name="T77" fmla="*/ 30 h 553"/>
                    <a:gd name="T78" fmla="*/ 217 w 709"/>
                    <a:gd name="T79" fmla="*/ 37 h 553"/>
                    <a:gd name="T80" fmla="*/ 192 w 709"/>
                    <a:gd name="T81" fmla="*/ 53 h 553"/>
                    <a:gd name="T82" fmla="*/ 181 w 709"/>
                    <a:gd name="T83" fmla="*/ 62 h 553"/>
                    <a:gd name="T84" fmla="*/ 170 w 709"/>
                    <a:gd name="T85" fmla="*/ 71 h 553"/>
                    <a:gd name="T86" fmla="*/ 160 w 709"/>
                    <a:gd name="T87" fmla="*/ 81 h 553"/>
                    <a:gd name="T88" fmla="*/ 197 w 709"/>
                    <a:gd name="T89" fmla="*/ 156 h 553"/>
                    <a:gd name="T90" fmla="*/ 216 w 709"/>
                    <a:gd name="T91" fmla="*/ 134 h 553"/>
                    <a:gd name="T92" fmla="*/ 238 w 709"/>
                    <a:gd name="T93" fmla="*/ 116 h 553"/>
                    <a:gd name="T94" fmla="*/ 257 w 709"/>
                    <a:gd name="T95" fmla="*/ 103 h 553"/>
                    <a:gd name="T96" fmla="*/ 267 w 709"/>
                    <a:gd name="T97" fmla="*/ 98 h 553"/>
                    <a:gd name="T98" fmla="*/ 283 w 709"/>
                    <a:gd name="T99" fmla="*/ 91 h 553"/>
                    <a:gd name="T100" fmla="*/ 294 w 709"/>
                    <a:gd name="T101" fmla="*/ 87 h 553"/>
                    <a:gd name="T102" fmla="*/ 306 w 709"/>
                    <a:gd name="T103" fmla="*/ 84 h 553"/>
                    <a:gd name="T104" fmla="*/ 317 w 709"/>
                    <a:gd name="T105" fmla="*/ 81 h 553"/>
                    <a:gd name="T106" fmla="*/ 330 w 709"/>
                    <a:gd name="T107" fmla="*/ 79 h 553"/>
                    <a:gd name="T108" fmla="*/ 341 w 709"/>
                    <a:gd name="T109" fmla="*/ 78 h 553"/>
                    <a:gd name="T110" fmla="*/ 354 w 709"/>
                    <a:gd name="T111" fmla="*/ 78 h 553"/>
                    <a:gd name="T112" fmla="*/ 419 w 709"/>
                    <a:gd name="T113" fmla="*/ 89 h 553"/>
                    <a:gd name="T114" fmla="*/ 589 w 709"/>
                    <a:gd name="T115" fmla="*/ 4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9" h="553">
                      <a:moveTo>
                        <a:pt x="516" y="393"/>
                      </a:moveTo>
                      <a:cubicBezTo>
                        <a:pt x="510" y="401"/>
                        <a:pt x="504" y="408"/>
                        <a:pt x="497" y="415"/>
                      </a:cubicBezTo>
                      <a:cubicBezTo>
                        <a:pt x="497" y="415"/>
                        <a:pt x="497" y="415"/>
                        <a:pt x="497" y="415"/>
                      </a:cubicBezTo>
                      <a:cubicBezTo>
                        <a:pt x="496" y="417"/>
                        <a:pt x="495" y="418"/>
                        <a:pt x="493" y="419"/>
                      </a:cubicBezTo>
                      <a:cubicBezTo>
                        <a:pt x="493" y="419"/>
                        <a:pt x="493" y="419"/>
                        <a:pt x="493" y="419"/>
                      </a:cubicBezTo>
                      <a:cubicBezTo>
                        <a:pt x="488" y="425"/>
                        <a:pt x="482" y="430"/>
                        <a:pt x="476" y="434"/>
                      </a:cubicBezTo>
                      <a:cubicBezTo>
                        <a:pt x="476" y="434"/>
                        <a:pt x="476" y="434"/>
                        <a:pt x="475" y="435"/>
                      </a:cubicBezTo>
                      <a:cubicBezTo>
                        <a:pt x="474" y="436"/>
                        <a:pt x="473" y="437"/>
                        <a:pt x="471" y="438"/>
                      </a:cubicBezTo>
                      <a:cubicBezTo>
                        <a:pt x="471" y="438"/>
                        <a:pt x="471" y="438"/>
                        <a:pt x="471" y="438"/>
                      </a:cubicBezTo>
                      <a:cubicBezTo>
                        <a:pt x="466" y="441"/>
                        <a:pt x="462" y="444"/>
                        <a:pt x="457" y="447"/>
                      </a:cubicBezTo>
                      <a:cubicBezTo>
                        <a:pt x="456" y="448"/>
                        <a:pt x="456" y="448"/>
                        <a:pt x="456" y="448"/>
                      </a:cubicBezTo>
                      <a:cubicBezTo>
                        <a:pt x="455" y="448"/>
                        <a:pt x="453" y="449"/>
                        <a:pt x="452" y="450"/>
                      </a:cubicBezTo>
                      <a:cubicBezTo>
                        <a:pt x="452" y="450"/>
                        <a:pt x="451" y="450"/>
                        <a:pt x="451" y="451"/>
                      </a:cubicBezTo>
                      <a:cubicBezTo>
                        <a:pt x="450" y="451"/>
                        <a:pt x="448" y="452"/>
                        <a:pt x="447" y="453"/>
                      </a:cubicBezTo>
                      <a:cubicBezTo>
                        <a:pt x="447" y="453"/>
                        <a:pt x="446" y="453"/>
                        <a:pt x="446" y="453"/>
                      </a:cubicBezTo>
                      <a:cubicBezTo>
                        <a:pt x="445" y="454"/>
                        <a:pt x="443" y="455"/>
                        <a:pt x="441" y="456"/>
                      </a:cubicBezTo>
                      <a:cubicBezTo>
                        <a:pt x="441" y="456"/>
                        <a:pt x="441" y="456"/>
                        <a:pt x="441" y="456"/>
                      </a:cubicBezTo>
                      <a:cubicBezTo>
                        <a:pt x="438" y="457"/>
                        <a:pt x="434" y="459"/>
                        <a:pt x="431" y="460"/>
                      </a:cubicBezTo>
                      <a:cubicBezTo>
                        <a:pt x="431" y="460"/>
                        <a:pt x="430" y="461"/>
                        <a:pt x="430" y="461"/>
                      </a:cubicBezTo>
                      <a:cubicBezTo>
                        <a:pt x="428" y="461"/>
                        <a:pt x="427" y="462"/>
                        <a:pt x="426" y="462"/>
                      </a:cubicBezTo>
                      <a:cubicBezTo>
                        <a:pt x="425" y="463"/>
                        <a:pt x="425" y="463"/>
                        <a:pt x="424" y="463"/>
                      </a:cubicBezTo>
                      <a:cubicBezTo>
                        <a:pt x="423" y="463"/>
                        <a:pt x="422" y="464"/>
                        <a:pt x="421" y="464"/>
                      </a:cubicBezTo>
                      <a:cubicBezTo>
                        <a:pt x="420" y="465"/>
                        <a:pt x="420" y="465"/>
                        <a:pt x="419" y="465"/>
                      </a:cubicBezTo>
                      <a:cubicBezTo>
                        <a:pt x="418" y="465"/>
                        <a:pt x="416" y="466"/>
                        <a:pt x="414" y="466"/>
                      </a:cubicBezTo>
                      <a:cubicBezTo>
                        <a:pt x="414" y="466"/>
                        <a:pt x="414" y="466"/>
                        <a:pt x="414" y="467"/>
                      </a:cubicBezTo>
                      <a:cubicBezTo>
                        <a:pt x="412" y="467"/>
                        <a:pt x="410" y="468"/>
                        <a:pt x="409" y="468"/>
                      </a:cubicBezTo>
                      <a:cubicBezTo>
                        <a:pt x="408" y="468"/>
                        <a:pt x="408" y="468"/>
                        <a:pt x="407" y="468"/>
                      </a:cubicBezTo>
                      <a:cubicBezTo>
                        <a:pt x="406" y="469"/>
                        <a:pt x="405" y="469"/>
                        <a:pt x="403" y="470"/>
                      </a:cubicBezTo>
                      <a:cubicBezTo>
                        <a:pt x="403" y="470"/>
                        <a:pt x="402" y="470"/>
                        <a:pt x="401" y="470"/>
                      </a:cubicBezTo>
                      <a:cubicBezTo>
                        <a:pt x="400" y="470"/>
                        <a:pt x="399" y="471"/>
                        <a:pt x="398" y="471"/>
                      </a:cubicBezTo>
                      <a:cubicBezTo>
                        <a:pt x="397" y="471"/>
                        <a:pt x="397" y="471"/>
                        <a:pt x="396" y="471"/>
                      </a:cubicBezTo>
                      <a:cubicBezTo>
                        <a:pt x="395" y="472"/>
                        <a:pt x="393" y="472"/>
                        <a:pt x="392" y="472"/>
                      </a:cubicBezTo>
                      <a:cubicBezTo>
                        <a:pt x="392" y="472"/>
                        <a:pt x="391" y="472"/>
                        <a:pt x="390" y="472"/>
                      </a:cubicBezTo>
                      <a:cubicBezTo>
                        <a:pt x="389" y="473"/>
                        <a:pt x="387" y="473"/>
                        <a:pt x="385" y="473"/>
                      </a:cubicBezTo>
                      <a:cubicBezTo>
                        <a:pt x="385" y="473"/>
                        <a:pt x="385" y="473"/>
                        <a:pt x="385" y="473"/>
                      </a:cubicBezTo>
                      <a:cubicBezTo>
                        <a:pt x="383" y="474"/>
                        <a:pt x="381" y="474"/>
                        <a:pt x="379" y="474"/>
                      </a:cubicBezTo>
                      <a:cubicBezTo>
                        <a:pt x="379" y="474"/>
                        <a:pt x="378" y="474"/>
                        <a:pt x="378" y="474"/>
                      </a:cubicBezTo>
                      <a:cubicBezTo>
                        <a:pt x="376" y="474"/>
                        <a:pt x="375" y="475"/>
                        <a:pt x="374" y="475"/>
                      </a:cubicBezTo>
                      <a:cubicBezTo>
                        <a:pt x="373" y="475"/>
                        <a:pt x="372" y="475"/>
                        <a:pt x="372" y="475"/>
                      </a:cubicBezTo>
                      <a:cubicBezTo>
                        <a:pt x="370" y="475"/>
                        <a:pt x="369" y="475"/>
                        <a:pt x="368" y="475"/>
                      </a:cubicBezTo>
                      <a:cubicBezTo>
                        <a:pt x="367" y="475"/>
                        <a:pt x="367" y="475"/>
                        <a:pt x="366" y="475"/>
                      </a:cubicBezTo>
                      <a:cubicBezTo>
                        <a:pt x="365" y="475"/>
                        <a:pt x="363" y="475"/>
                        <a:pt x="362" y="475"/>
                      </a:cubicBezTo>
                      <a:cubicBezTo>
                        <a:pt x="361" y="475"/>
                        <a:pt x="361" y="475"/>
                        <a:pt x="360" y="475"/>
                      </a:cubicBezTo>
                      <a:cubicBezTo>
                        <a:pt x="358" y="476"/>
                        <a:pt x="356" y="476"/>
                        <a:pt x="354" y="476"/>
                      </a:cubicBezTo>
                      <a:cubicBezTo>
                        <a:pt x="348" y="476"/>
                        <a:pt x="341" y="475"/>
                        <a:pt x="334" y="475"/>
                      </a:cubicBezTo>
                      <a:cubicBezTo>
                        <a:pt x="331" y="474"/>
                        <a:pt x="327" y="474"/>
                        <a:pt x="324" y="473"/>
                      </a:cubicBezTo>
                      <a:cubicBezTo>
                        <a:pt x="321" y="473"/>
                        <a:pt x="318" y="472"/>
                        <a:pt x="314" y="472"/>
                      </a:cubicBezTo>
                      <a:cubicBezTo>
                        <a:pt x="311" y="471"/>
                        <a:pt x="308" y="470"/>
                        <a:pt x="305" y="469"/>
                      </a:cubicBezTo>
                      <a:cubicBezTo>
                        <a:pt x="303" y="469"/>
                        <a:pt x="302" y="468"/>
                        <a:pt x="300" y="468"/>
                      </a:cubicBezTo>
                      <a:cubicBezTo>
                        <a:pt x="290" y="465"/>
                        <a:pt x="280" y="461"/>
                        <a:pt x="270" y="457"/>
                      </a:cubicBezTo>
                      <a:cubicBezTo>
                        <a:pt x="202" y="425"/>
                        <a:pt x="156" y="356"/>
                        <a:pt x="156" y="277"/>
                      </a:cubicBezTo>
                      <a:cubicBezTo>
                        <a:pt x="230" y="277"/>
                        <a:pt x="230" y="277"/>
                        <a:pt x="230" y="277"/>
                      </a:cubicBezTo>
                      <a:cubicBezTo>
                        <a:pt x="171" y="199"/>
                        <a:pt x="171" y="199"/>
                        <a:pt x="171" y="199"/>
                      </a:cubicBezTo>
                      <a:cubicBezTo>
                        <a:pt x="120" y="131"/>
                        <a:pt x="120" y="131"/>
                        <a:pt x="120" y="131"/>
                      </a:cubicBezTo>
                      <a:cubicBezTo>
                        <a:pt x="115" y="124"/>
                        <a:pt x="115" y="124"/>
                        <a:pt x="115" y="124"/>
                      </a:cubicBezTo>
                      <a:cubicBezTo>
                        <a:pt x="0" y="277"/>
                        <a:pt x="0" y="277"/>
                        <a:pt x="0" y="277"/>
                      </a:cubicBezTo>
                      <a:cubicBezTo>
                        <a:pt x="78" y="277"/>
                        <a:pt x="78" y="277"/>
                        <a:pt x="78" y="277"/>
                      </a:cubicBezTo>
                      <a:cubicBezTo>
                        <a:pt x="78" y="382"/>
                        <a:pt x="137" y="473"/>
                        <a:pt x="223" y="520"/>
                      </a:cubicBezTo>
                      <a:cubicBezTo>
                        <a:pt x="225" y="521"/>
                        <a:pt x="227" y="522"/>
                        <a:pt x="229" y="523"/>
                      </a:cubicBezTo>
                      <a:cubicBezTo>
                        <a:pt x="233" y="525"/>
                        <a:pt x="237" y="527"/>
                        <a:pt x="241" y="529"/>
                      </a:cubicBezTo>
                      <a:cubicBezTo>
                        <a:pt x="271" y="543"/>
                        <a:pt x="305" y="551"/>
                        <a:pt x="340" y="553"/>
                      </a:cubicBezTo>
                      <a:cubicBezTo>
                        <a:pt x="345" y="553"/>
                        <a:pt x="350" y="553"/>
                        <a:pt x="354" y="553"/>
                      </a:cubicBezTo>
                      <a:cubicBezTo>
                        <a:pt x="357" y="553"/>
                        <a:pt x="359" y="553"/>
                        <a:pt x="362" y="553"/>
                      </a:cubicBezTo>
                      <a:cubicBezTo>
                        <a:pt x="363" y="553"/>
                        <a:pt x="364" y="553"/>
                        <a:pt x="364" y="553"/>
                      </a:cubicBezTo>
                      <a:cubicBezTo>
                        <a:pt x="366" y="553"/>
                        <a:pt x="368" y="553"/>
                        <a:pt x="369" y="553"/>
                      </a:cubicBezTo>
                      <a:cubicBezTo>
                        <a:pt x="370" y="553"/>
                        <a:pt x="371" y="553"/>
                        <a:pt x="372" y="553"/>
                      </a:cubicBezTo>
                      <a:cubicBezTo>
                        <a:pt x="374" y="552"/>
                        <a:pt x="375" y="552"/>
                        <a:pt x="377" y="552"/>
                      </a:cubicBezTo>
                      <a:cubicBezTo>
                        <a:pt x="378" y="552"/>
                        <a:pt x="379" y="552"/>
                        <a:pt x="380" y="552"/>
                      </a:cubicBezTo>
                      <a:cubicBezTo>
                        <a:pt x="381" y="552"/>
                        <a:pt x="383" y="552"/>
                        <a:pt x="384" y="552"/>
                      </a:cubicBezTo>
                      <a:cubicBezTo>
                        <a:pt x="385" y="551"/>
                        <a:pt x="386" y="551"/>
                        <a:pt x="387" y="551"/>
                      </a:cubicBezTo>
                      <a:cubicBezTo>
                        <a:pt x="389" y="551"/>
                        <a:pt x="390" y="551"/>
                        <a:pt x="391" y="551"/>
                      </a:cubicBezTo>
                      <a:cubicBezTo>
                        <a:pt x="393" y="550"/>
                        <a:pt x="394" y="550"/>
                        <a:pt x="395" y="550"/>
                      </a:cubicBezTo>
                      <a:cubicBezTo>
                        <a:pt x="396" y="550"/>
                        <a:pt x="397" y="550"/>
                        <a:pt x="399" y="550"/>
                      </a:cubicBezTo>
                      <a:cubicBezTo>
                        <a:pt x="400" y="549"/>
                        <a:pt x="401" y="549"/>
                        <a:pt x="402" y="549"/>
                      </a:cubicBezTo>
                      <a:cubicBezTo>
                        <a:pt x="403" y="549"/>
                        <a:pt x="405" y="549"/>
                        <a:pt x="406" y="548"/>
                      </a:cubicBezTo>
                      <a:cubicBezTo>
                        <a:pt x="407" y="548"/>
                        <a:pt x="408" y="548"/>
                        <a:pt x="409" y="548"/>
                      </a:cubicBezTo>
                      <a:cubicBezTo>
                        <a:pt x="410" y="547"/>
                        <a:pt x="412" y="547"/>
                        <a:pt x="413" y="547"/>
                      </a:cubicBezTo>
                      <a:cubicBezTo>
                        <a:pt x="414" y="547"/>
                        <a:pt x="415" y="546"/>
                        <a:pt x="416" y="546"/>
                      </a:cubicBezTo>
                      <a:cubicBezTo>
                        <a:pt x="418" y="546"/>
                        <a:pt x="419" y="545"/>
                        <a:pt x="421" y="545"/>
                      </a:cubicBezTo>
                      <a:cubicBezTo>
                        <a:pt x="422" y="545"/>
                        <a:pt x="422" y="545"/>
                        <a:pt x="423" y="545"/>
                      </a:cubicBezTo>
                      <a:cubicBezTo>
                        <a:pt x="425" y="544"/>
                        <a:pt x="427" y="543"/>
                        <a:pt x="430" y="543"/>
                      </a:cubicBezTo>
                      <a:cubicBezTo>
                        <a:pt x="430" y="543"/>
                        <a:pt x="430" y="543"/>
                        <a:pt x="430" y="543"/>
                      </a:cubicBezTo>
                      <a:cubicBezTo>
                        <a:pt x="432" y="542"/>
                        <a:pt x="435" y="541"/>
                        <a:pt x="437" y="541"/>
                      </a:cubicBezTo>
                      <a:cubicBezTo>
                        <a:pt x="437" y="540"/>
                        <a:pt x="438" y="540"/>
                        <a:pt x="438" y="540"/>
                      </a:cubicBezTo>
                      <a:cubicBezTo>
                        <a:pt x="440" y="540"/>
                        <a:pt x="442" y="539"/>
                        <a:pt x="444" y="538"/>
                      </a:cubicBezTo>
                      <a:cubicBezTo>
                        <a:pt x="444" y="538"/>
                        <a:pt x="445" y="538"/>
                        <a:pt x="446" y="538"/>
                      </a:cubicBezTo>
                      <a:cubicBezTo>
                        <a:pt x="447" y="537"/>
                        <a:pt x="449" y="537"/>
                        <a:pt x="450" y="536"/>
                      </a:cubicBezTo>
                      <a:cubicBezTo>
                        <a:pt x="451" y="536"/>
                        <a:pt x="452" y="535"/>
                        <a:pt x="453" y="535"/>
                      </a:cubicBezTo>
                      <a:cubicBezTo>
                        <a:pt x="454" y="535"/>
                        <a:pt x="456" y="534"/>
                        <a:pt x="457" y="533"/>
                      </a:cubicBezTo>
                      <a:cubicBezTo>
                        <a:pt x="458" y="533"/>
                        <a:pt x="459" y="533"/>
                        <a:pt x="460" y="532"/>
                      </a:cubicBezTo>
                      <a:cubicBezTo>
                        <a:pt x="461" y="532"/>
                        <a:pt x="462" y="531"/>
                        <a:pt x="464" y="531"/>
                      </a:cubicBezTo>
                      <a:cubicBezTo>
                        <a:pt x="465" y="530"/>
                        <a:pt x="465" y="530"/>
                        <a:pt x="466" y="530"/>
                      </a:cubicBezTo>
                      <a:cubicBezTo>
                        <a:pt x="468" y="529"/>
                        <a:pt x="469" y="528"/>
                        <a:pt x="470" y="528"/>
                      </a:cubicBezTo>
                      <a:cubicBezTo>
                        <a:pt x="471" y="527"/>
                        <a:pt x="472" y="527"/>
                        <a:pt x="473" y="527"/>
                      </a:cubicBezTo>
                      <a:cubicBezTo>
                        <a:pt x="474" y="526"/>
                        <a:pt x="475" y="525"/>
                        <a:pt x="477" y="525"/>
                      </a:cubicBezTo>
                      <a:cubicBezTo>
                        <a:pt x="478" y="524"/>
                        <a:pt x="478" y="524"/>
                        <a:pt x="479" y="524"/>
                      </a:cubicBezTo>
                      <a:cubicBezTo>
                        <a:pt x="480" y="523"/>
                        <a:pt x="482" y="522"/>
                        <a:pt x="483" y="521"/>
                      </a:cubicBezTo>
                      <a:cubicBezTo>
                        <a:pt x="484" y="521"/>
                        <a:pt x="485" y="521"/>
                        <a:pt x="485" y="520"/>
                      </a:cubicBezTo>
                      <a:cubicBezTo>
                        <a:pt x="487" y="519"/>
                        <a:pt x="488" y="518"/>
                        <a:pt x="490" y="518"/>
                      </a:cubicBezTo>
                      <a:cubicBezTo>
                        <a:pt x="491" y="517"/>
                        <a:pt x="491" y="517"/>
                        <a:pt x="491" y="517"/>
                      </a:cubicBezTo>
                      <a:cubicBezTo>
                        <a:pt x="498" y="513"/>
                        <a:pt x="504" y="509"/>
                        <a:pt x="510" y="505"/>
                      </a:cubicBezTo>
                      <a:cubicBezTo>
                        <a:pt x="510" y="505"/>
                        <a:pt x="510" y="505"/>
                        <a:pt x="510" y="505"/>
                      </a:cubicBezTo>
                      <a:cubicBezTo>
                        <a:pt x="512" y="504"/>
                        <a:pt x="514" y="503"/>
                        <a:pt x="515" y="501"/>
                      </a:cubicBezTo>
                      <a:cubicBezTo>
                        <a:pt x="516" y="501"/>
                        <a:pt x="516" y="501"/>
                        <a:pt x="517" y="500"/>
                      </a:cubicBezTo>
                      <a:cubicBezTo>
                        <a:pt x="518" y="499"/>
                        <a:pt x="520" y="498"/>
                        <a:pt x="521" y="497"/>
                      </a:cubicBezTo>
                      <a:cubicBezTo>
                        <a:pt x="522" y="497"/>
                        <a:pt x="522" y="496"/>
                        <a:pt x="523" y="496"/>
                      </a:cubicBezTo>
                      <a:cubicBezTo>
                        <a:pt x="524" y="495"/>
                        <a:pt x="525" y="494"/>
                        <a:pt x="527" y="493"/>
                      </a:cubicBezTo>
                      <a:cubicBezTo>
                        <a:pt x="527" y="493"/>
                        <a:pt x="528" y="492"/>
                        <a:pt x="528" y="492"/>
                      </a:cubicBezTo>
                      <a:cubicBezTo>
                        <a:pt x="530" y="491"/>
                        <a:pt x="531" y="489"/>
                        <a:pt x="532" y="488"/>
                      </a:cubicBezTo>
                      <a:cubicBezTo>
                        <a:pt x="533" y="488"/>
                        <a:pt x="533" y="488"/>
                        <a:pt x="534" y="487"/>
                      </a:cubicBezTo>
                      <a:cubicBezTo>
                        <a:pt x="535" y="486"/>
                        <a:pt x="536" y="485"/>
                        <a:pt x="538" y="484"/>
                      </a:cubicBezTo>
                      <a:cubicBezTo>
                        <a:pt x="538" y="483"/>
                        <a:pt x="539" y="483"/>
                        <a:pt x="539" y="482"/>
                      </a:cubicBezTo>
                      <a:cubicBezTo>
                        <a:pt x="540" y="481"/>
                        <a:pt x="542" y="480"/>
                        <a:pt x="543" y="479"/>
                      </a:cubicBezTo>
                      <a:cubicBezTo>
                        <a:pt x="543" y="478"/>
                        <a:pt x="544" y="478"/>
                        <a:pt x="544" y="478"/>
                      </a:cubicBezTo>
                      <a:cubicBezTo>
                        <a:pt x="546" y="476"/>
                        <a:pt x="547" y="475"/>
                        <a:pt x="548" y="474"/>
                      </a:cubicBezTo>
                      <a:cubicBezTo>
                        <a:pt x="549" y="473"/>
                        <a:pt x="549" y="473"/>
                        <a:pt x="549" y="473"/>
                      </a:cubicBezTo>
                      <a:cubicBezTo>
                        <a:pt x="554" y="468"/>
                        <a:pt x="559" y="462"/>
                        <a:pt x="564" y="457"/>
                      </a:cubicBezTo>
                      <a:cubicBezTo>
                        <a:pt x="564" y="457"/>
                        <a:pt x="564" y="457"/>
                        <a:pt x="564" y="457"/>
                      </a:cubicBezTo>
                      <a:cubicBezTo>
                        <a:pt x="516" y="393"/>
                        <a:pt x="516" y="393"/>
                        <a:pt x="516" y="393"/>
                      </a:cubicBezTo>
                      <a:close/>
                      <a:moveTo>
                        <a:pt x="631" y="277"/>
                      </a:moveTo>
                      <a:cubicBezTo>
                        <a:pt x="631" y="124"/>
                        <a:pt x="507" y="0"/>
                        <a:pt x="354" y="0"/>
                      </a:cubicBezTo>
                      <a:cubicBezTo>
                        <a:pt x="354" y="0"/>
                        <a:pt x="354" y="0"/>
                        <a:pt x="354" y="0"/>
                      </a:cubicBezTo>
                      <a:cubicBezTo>
                        <a:pt x="351" y="0"/>
                        <a:pt x="349" y="0"/>
                        <a:pt x="347" y="0"/>
                      </a:cubicBezTo>
                      <a:cubicBezTo>
                        <a:pt x="346" y="0"/>
                        <a:pt x="345" y="0"/>
                        <a:pt x="344" y="1"/>
                      </a:cubicBezTo>
                      <a:cubicBezTo>
                        <a:pt x="343" y="1"/>
                        <a:pt x="341" y="1"/>
                        <a:pt x="340" y="1"/>
                      </a:cubicBezTo>
                      <a:cubicBezTo>
                        <a:pt x="339" y="1"/>
                        <a:pt x="337" y="1"/>
                        <a:pt x="336" y="1"/>
                      </a:cubicBezTo>
                      <a:cubicBezTo>
                        <a:pt x="335" y="1"/>
                        <a:pt x="334" y="1"/>
                        <a:pt x="332" y="1"/>
                      </a:cubicBezTo>
                      <a:cubicBezTo>
                        <a:pt x="331" y="1"/>
                        <a:pt x="330" y="1"/>
                        <a:pt x="329" y="1"/>
                      </a:cubicBezTo>
                      <a:cubicBezTo>
                        <a:pt x="328" y="2"/>
                        <a:pt x="326" y="2"/>
                        <a:pt x="325" y="2"/>
                      </a:cubicBezTo>
                      <a:cubicBezTo>
                        <a:pt x="324" y="2"/>
                        <a:pt x="323" y="2"/>
                        <a:pt x="322" y="2"/>
                      </a:cubicBezTo>
                      <a:cubicBezTo>
                        <a:pt x="320" y="2"/>
                        <a:pt x="319" y="3"/>
                        <a:pt x="317" y="3"/>
                      </a:cubicBezTo>
                      <a:cubicBezTo>
                        <a:pt x="316" y="3"/>
                        <a:pt x="315" y="3"/>
                        <a:pt x="314" y="3"/>
                      </a:cubicBezTo>
                      <a:cubicBezTo>
                        <a:pt x="313" y="3"/>
                        <a:pt x="312" y="4"/>
                        <a:pt x="310" y="4"/>
                      </a:cubicBezTo>
                      <a:cubicBezTo>
                        <a:pt x="309" y="4"/>
                        <a:pt x="308" y="4"/>
                        <a:pt x="307" y="4"/>
                      </a:cubicBezTo>
                      <a:cubicBezTo>
                        <a:pt x="306" y="5"/>
                        <a:pt x="304" y="5"/>
                        <a:pt x="303" y="5"/>
                      </a:cubicBezTo>
                      <a:cubicBezTo>
                        <a:pt x="302" y="5"/>
                        <a:pt x="301" y="6"/>
                        <a:pt x="300" y="6"/>
                      </a:cubicBezTo>
                      <a:cubicBezTo>
                        <a:pt x="298" y="6"/>
                        <a:pt x="297" y="6"/>
                        <a:pt x="296" y="7"/>
                      </a:cubicBezTo>
                      <a:cubicBezTo>
                        <a:pt x="295" y="7"/>
                        <a:pt x="294" y="7"/>
                        <a:pt x="293" y="7"/>
                      </a:cubicBezTo>
                      <a:cubicBezTo>
                        <a:pt x="291" y="8"/>
                        <a:pt x="290" y="8"/>
                        <a:pt x="288" y="8"/>
                      </a:cubicBezTo>
                      <a:cubicBezTo>
                        <a:pt x="287" y="9"/>
                        <a:pt x="287" y="9"/>
                        <a:pt x="286" y="9"/>
                      </a:cubicBezTo>
                      <a:cubicBezTo>
                        <a:pt x="284" y="9"/>
                        <a:pt x="282" y="10"/>
                        <a:pt x="280" y="11"/>
                      </a:cubicBezTo>
                      <a:cubicBezTo>
                        <a:pt x="280" y="11"/>
                        <a:pt x="279" y="11"/>
                        <a:pt x="279" y="11"/>
                      </a:cubicBezTo>
                      <a:cubicBezTo>
                        <a:pt x="277" y="11"/>
                        <a:pt x="274" y="12"/>
                        <a:pt x="272" y="13"/>
                      </a:cubicBezTo>
                      <a:cubicBezTo>
                        <a:pt x="271" y="13"/>
                        <a:pt x="271" y="13"/>
                        <a:pt x="270" y="13"/>
                      </a:cubicBezTo>
                      <a:cubicBezTo>
                        <a:pt x="269" y="14"/>
                        <a:pt x="267" y="14"/>
                        <a:pt x="265" y="15"/>
                      </a:cubicBezTo>
                      <a:cubicBezTo>
                        <a:pt x="264" y="15"/>
                        <a:pt x="264" y="16"/>
                        <a:pt x="263" y="16"/>
                      </a:cubicBezTo>
                      <a:cubicBezTo>
                        <a:pt x="261" y="16"/>
                        <a:pt x="260" y="17"/>
                        <a:pt x="258" y="17"/>
                      </a:cubicBezTo>
                      <a:cubicBezTo>
                        <a:pt x="258" y="18"/>
                        <a:pt x="257" y="18"/>
                        <a:pt x="256" y="18"/>
                      </a:cubicBezTo>
                      <a:cubicBezTo>
                        <a:pt x="255" y="19"/>
                        <a:pt x="253" y="19"/>
                        <a:pt x="252" y="20"/>
                      </a:cubicBezTo>
                      <a:cubicBezTo>
                        <a:pt x="251" y="20"/>
                        <a:pt x="250" y="21"/>
                        <a:pt x="249" y="21"/>
                      </a:cubicBezTo>
                      <a:cubicBezTo>
                        <a:pt x="248" y="22"/>
                        <a:pt x="247" y="22"/>
                        <a:pt x="245" y="23"/>
                      </a:cubicBezTo>
                      <a:cubicBezTo>
                        <a:pt x="244" y="23"/>
                        <a:pt x="244" y="24"/>
                        <a:pt x="243" y="24"/>
                      </a:cubicBezTo>
                      <a:cubicBezTo>
                        <a:pt x="241" y="24"/>
                        <a:pt x="240" y="25"/>
                        <a:pt x="239" y="26"/>
                      </a:cubicBezTo>
                      <a:cubicBezTo>
                        <a:pt x="238" y="26"/>
                        <a:pt x="237" y="26"/>
                        <a:pt x="236" y="27"/>
                      </a:cubicBezTo>
                      <a:cubicBezTo>
                        <a:pt x="235" y="27"/>
                        <a:pt x="233" y="28"/>
                        <a:pt x="232" y="29"/>
                      </a:cubicBezTo>
                      <a:cubicBezTo>
                        <a:pt x="231" y="29"/>
                        <a:pt x="231" y="30"/>
                        <a:pt x="230" y="30"/>
                      </a:cubicBezTo>
                      <a:cubicBezTo>
                        <a:pt x="228" y="31"/>
                        <a:pt x="227" y="31"/>
                        <a:pt x="226" y="32"/>
                      </a:cubicBezTo>
                      <a:cubicBezTo>
                        <a:pt x="225" y="32"/>
                        <a:pt x="224" y="33"/>
                        <a:pt x="224" y="33"/>
                      </a:cubicBezTo>
                      <a:cubicBezTo>
                        <a:pt x="222" y="34"/>
                        <a:pt x="220" y="35"/>
                        <a:pt x="219" y="36"/>
                      </a:cubicBezTo>
                      <a:cubicBezTo>
                        <a:pt x="218" y="36"/>
                        <a:pt x="218" y="36"/>
                        <a:pt x="217" y="37"/>
                      </a:cubicBezTo>
                      <a:cubicBezTo>
                        <a:pt x="211" y="40"/>
                        <a:pt x="205" y="44"/>
                        <a:pt x="199" y="48"/>
                      </a:cubicBezTo>
                      <a:cubicBezTo>
                        <a:pt x="199" y="48"/>
                        <a:pt x="199" y="48"/>
                        <a:pt x="198" y="49"/>
                      </a:cubicBezTo>
                      <a:cubicBezTo>
                        <a:pt x="197" y="50"/>
                        <a:pt x="195" y="51"/>
                        <a:pt x="194" y="52"/>
                      </a:cubicBezTo>
                      <a:cubicBezTo>
                        <a:pt x="193" y="52"/>
                        <a:pt x="193" y="53"/>
                        <a:pt x="192" y="53"/>
                      </a:cubicBezTo>
                      <a:cubicBezTo>
                        <a:pt x="191" y="54"/>
                        <a:pt x="189" y="55"/>
                        <a:pt x="188" y="56"/>
                      </a:cubicBezTo>
                      <a:cubicBezTo>
                        <a:pt x="187" y="57"/>
                        <a:pt x="187" y="57"/>
                        <a:pt x="186" y="57"/>
                      </a:cubicBezTo>
                      <a:cubicBezTo>
                        <a:pt x="185" y="58"/>
                        <a:pt x="184" y="59"/>
                        <a:pt x="182" y="61"/>
                      </a:cubicBezTo>
                      <a:cubicBezTo>
                        <a:pt x="182" y="61"/>
                        <a:pt x="181" y="61"/>
                        <a:pt x="181" y="62"/>
                      </a:cubicBezTo>
                      <a:cubicBezTo>
                        <a:pt x="179" y="63"/>
                        <a:pt x="178" y="64"/>
                        <a:pt x="177" y="65"/>
                      </a:cubicBezTo>
                      <a:cubicBezTo>
                        <a:pt x="176" y="65"/>
                        <a:pt x="176" y="66"/>
                        <a:pt x="175" y="66"/>
                      </a:cubicBezTo>
                      <a:cubicBezTo>
                        <a:pt x="174" y="67"/>
                        <a:pt x="173" y="69"/>
                        <a:pt x="171" y="70"/>
                      </a:cubicBezTo>
                      <a:cubicBezTo>
                        <a:pt x="171" y="70"/>
                        <a:pt x="170" y="71"/>
                        <a:pt x="170" y="71"/>
                      </a:cubicBezTo>
                      <a:cubicBezTo>
                        <a:pt x="169" y="72"/>
                        <a:pt x="167" y="73"/>
                        <a:pt x="166" y="75"/>
                      </a:cubicBezTo>
                      <a:cubicBezTo>
                        <a:pt x="165" y="75"/>
                        <a:pt x="165" y="75"/>
                        <a:pt x="165" y="76"/>
                      </a:cubicBezTo>
                      <a:cubicBezTo>
                        <a:pt x="163" y="77"/>
                        <a:pt x="162" y="79"/>
                        <a:pt x="160" y="80"/>
                      </a:cubicBezTo>
                      <a:cubicBezTo>
                        <a:pt x="160" y="80"/>
                        <a:pt x="160" y="80"/>
                        <a:pt x="160" y="81"/>
                      </a:cubicBezTo>
                      <a:cubicBezTo>
                        <a:pt x="155" y="86"/>
                        <a:pt x="150" y="91"/>
                        <a:pt x="145" y="96"/>
                      </a:cubicBezTo>
                      <a:cubicBezTo>
                        <a:pt x="193" y="160"/>
                        <a:pt x="193" y="160"/>
                        <a:pt x="193" y="160"/>
                      </a:cubicBezTo>
                      <a:cubicBezTo>
                        <a:pt x="193" y="160"/>
                        <a:pt x="193" y="160"/>
                        <a:pt x="193" y="160"/>
                      </a:cubicBezTo>
                      <a:cubicBezTo>
                        <a:pt x="194" y="159"/>
                        <a:pt x="195" y="157"/>
                        <a:pt x="197" y="156"/>
                      </a:cubicBezTo>
                      <a:cubicBezTo>
                        <a:pt x="197" y="156"/>
                        <a:pt x="197" y="156"/>
                        <a:pt x="197" y="156"/>
                      </a:cubicBezTo>
                      <a:cubicBezTo>
                        <a:pt x="201" y="150"/>
                        <a:pt x="206" y="144"/>
                        <a:pt x="212" y="138"/>
                      </a:cubicBezTo>
                      <a:cubicBezTo>
                        <a:pt x="212" y="138"/>
                        <a:pt x="212" y="138"/>
                        <a:pt x="212" y="138"/>
                      </a:cubicBezTo>
                      <a:cubicBezTo>
                        <a:pt x="213" y="137"/>
                        <a:pt x="214" y="136"/>
                        <a:pt x="216" y="134"/>
                      </a:cubicBezTo>
                      <a:cubicBezTo>
                        <a:pt x="216" y="134"/>
                        <a:pt x="216" y="134"/>
                        <a:pt x="216" y="134"/>
                      </a:cubicBezTo>
                      <a:cubicBezTo>
                        <a:pt x="221" y="129"/>
                        <a:pt x="227" y="124"/>
                        <a:pt x="233" y="119"/>
                      </a:cubicBezTo>
                      <a:cubicBezTo>
                        <a:pt x="233" y="119"/>
                        <a:pt x="233" y="119"/>
                        <a:pt x="234" y="119"/>
                      </a:cubicBezTo>
                      <a:cubicBezTo>
                        <a:pt x="235" y="118"/>
                        <a:pt x="236" y="117"/>
                        <a:pt x="238" y="116"/>
                      </a:cubicBezTo>
                      <a:cubicBezTo>
                        <a:pt x="238" y="116"/>
                        <a:pt x="238" y="116"/>
                        <a:pt x="238" y="115"/>
                      </a:cubicBezTo>
                      <a:cubicBezTo>
                        <a:pt x="243" y="112"/>
                        <a:pt x="247" y="109"/>
                        <a:pt x="252" y="106"/>
                      </a:cubicBezTo>
                      <a:cubicBezTo>
                        <a:pt x="252" y="106"/>
                        <a:pt x="253" y="106"/>
                        <a:pt x="253" y="106"/>
                      </a:cubicBezTo>
                      <a:cubicBezTo>
                        <a:pt x="254" y="105"/>
                        <a:pt x="256" y="104"/>
                        <a:pt x="257" y="103"/>
                      </a:cubicBezTo>
                      <a:cubicBezTo>
                        <a:pt x="257" y="103"/>
                        <a:pt x="258" y="103"/>
                        <a:pt x="258" y="103"/>
                      </a:cubicBezTo>
                      <a:cubicBezTo>
                        <a:pt x="259" y="102"/>
                        <a:pt x="261" y="101"/>
                        <a:pt x="262" y="101"/>
                      </a:cubicBezTo>
                      <a:cubicBezTo>
                        <a:pt x="262" y="100"/>
                        <a:pt x="262" y="100"/>
                        <a:pt x="263" y="100"/>
                      </a:cubicBezTo>
                      <a:cubicBezTo>
                        <a:pt x="264" y="99"/>
                        <a:pt x="266" y="99"/>
                        <a:pt x="267" y="98"/>
                      </a:cubicBezTo>
                      <a:cubicBezTo>
                        <a:pt x="268" y="98"/>
                        <a:pt x="268" y="98"/>
                        <a:pt x="268" y="98"/>
                      </a:cubicBezTo>
                      <a:cubicBezTo>
                        <a:pt x="271" y="96"/>
                        <a:pt x="274" y="95"/>
                        <a:pt x="278" y="93"/>
                      </a:cubicBezTo>
                      <a:cubicBezTo>
                        <a:pt x="278" y="93"/>
                        <a:pt x="279" y="93"/>
                        <a:pt x="279" y="93"/>
                      </a:cubicBezTo>
                      <a:cubicBezTo>
                        <a:pt x="280" y="92"/>
                        <a:pt x="282" y="92"/>
                        <a:pt x="283" y="91"/>
                      </a:cubicBezTo>
                      <a:cubicBezTo>
                        <a:pt x="284" y="91"/>
                        <a:pt x="284" y="91"/>
                        <a:pt x="284" y="90"/>
                      </a:cubicBezTo>
                      <a:cubicBezTo>
                        <a:pt x="286" y="90"/>
                        <a:pt x="287" y="90"/>
                        <a:pt x="288" y="89"/>
                      </a:cubicBezTo>
                      <a:cubicBezTo>
                        <a:pt x="289" y="89"/>
                        <a:pt x="289" y="89"/>
                        <a:pt x="290" y="89"/>
                      </a:cubicBezTo>
                      <a:cubicBezTo>
                        <a:pt x="291" y="88"/>
                        <a:pt x="293" y="88"/>
                        <a:pt x="294" y="87"/>
                      </a:cubicBezTo>
                      <a:cubicBezTo>
                        <a:pt x="295" y="87"/>
                        <a:pt x="295" y="87"/>
                        <a:pt x="295" y="87"/>
                      </a:cubicBezTo>
                      <a:cubicBezTo>
                        <a:pt x="297" y="86"/>
                        <a:pt x="299" y="86"/>
                        <a:pt x="300" y="85"/>
                      </a:cubicBezTo>
                      <a:cubicBezTo>
                        <a:pt x="301" y="85"/>
                        <a:pt x="301" y="85"/>
                        <a:pt x="301" y="85"/>
                      </a:cubicBezTo>
                      <a:cubicBezTo>
                        <a:pt x="303" y="85"/>
                        <a:pt x="304" y="84"/>
                        <a:pt x="306" y="84"/>
                      </a:cubicBezTo>
                      <a:cubicBezTo>
                        <a:pt x="306" y="84"/>
                        <a:pt x="307" y="84"/>
                        <a:pt x="307" y="83"/>
                      </a:cubicBezTo>
                      <a:cubicBezTo>
                        <a:pt x="309" y="83"/>
                        <a:pt x="310" y="83"/>
                        <a:pt x="311" y="83"/>
                      </a:cubicBezTo>
                      <a:cubicBezTo>
                        <a:pt x="312" y="82"/>
                        <a:pt x="312" y="82"/>
                        <a:pt x="313" y="82"/>
                      </a:cubicBezTo>
                      <a:cubicBezTo>
                        <a:pt x="314" y="82"/>
                        <a:pt x="316" y="82"/>
                        <a:pt x="317" y="81"/>
                      </a:cubicBezTo>
                      <a:cubicBezTo>
                        <a:pt x="317" y="81"/>
                        <a:pt x="318" y="81"/>
                        <a:pt x="319" y="81"/>
                      </a:cubicBezTo>
                      <a:cubicBezTo>
                        <a:pt x="320" y="81"/>
                        <a:pt x="322" y="81"/>
                        <a:pt x="323" y="80"/>
                      </a:cubicBezTo>
                      <a:cubicBezTo>
                        <a:pt x="324" y="80"/>
                        <a:pt x="324" y="80"/>
                        <a:pt x="324" y="80"/>
                      </a:cubicBezTo>
                      <a:cubicBezTo>
                        <a:pt x="326" y="80"/>
                        <a:pt x="328" y="80"/>
                        <a:pt x="330" y="79"/>
                      </a:cubicBezTo>
                      <a:cubicBezTo>
                        <a:pt x="330" y="79"/>
                        <a:pt x="331" y="79"/>
                        <a:pt x="331" y="79"/>
                      </a:cubicBezTo>
                      <a:cubicBezTo>
                        <a:pt x="333" y="79"/>
                        <a:pt x="334" y="79"/>
                        <a:pt x="335" y="79"/>
                      </a:cubicBezTo>
                      <a:cubicBezTo>
                        <a:pt x="336" y="79"/>
                        <a:pt x="337" y="79"/>
                        <a:pt x="337" y="79"/>
                      </a:cubicBezTo>
                      <a:cubicBezTo>
                        <a:pt x="338" y="78"/>
                        <a:pt x="340" y="78"/>
                        <a:pt x="341" y="78"/>
                      </a:cubicBezTo>
                      <a:cubicBezTo>
                        <a:pt x="342" y="78"/>
                        <a:pt x="342" y="78"/>
                        <a:pt x="343" y="78"/>
                      </a:cubicBezTo>
                      <a:cubicBezTo>
                        <a:pt x="344" y="78"/>
                        <a:pt x="346" y="78"/>
                        <a:pt x="347" y="78"/>
                      </a:cubicBezTo>
                      <a:cubicBezTo>
                        <a:pt x="347" y="78"/>
                        <a:pt x="348" y="78"/>
                        <a:pt x="349" y="78"/>
                      </a:cubicBezTo>
                      <a:cubicBezTo>
                        <a:pt x="351" y="78"/>
                        <a:pt x="353" y="78"/>
                        <a:pt x="354" y="78"/>
                      </a:cubicBezTo>
                      <a:cubicBezTo>
                        <a:pt x="361" y="78"/>
                        <a:pt x="368" y="78"/>
                        <a:pt x="375" y="79"/>
                      </a:cubicBezTo>
                      <a:cubicBezTo>
                        <a:pt x="378" y="79"/>
                        <a:pt x="381" y="80"/>
                        <a:pt x="385" y="80"/>
                      </a:cubicBezTo>
                      <a:cubicBezTo>
                        <a:pt x="388" y="81"/>
                        <a:pt x="391" y="81"/>
                        <a:pt x="395" y="82"/>
                      </a:cubicBezTo>
                      <a:cubicBezTo>
                        <a:pt x="403" y="84"/>
                        <a:pt x="411" y="86"/>
                        <a:pt x="419" y="89"/>
                      </a:cubicBezTo>
                      <a:cubicBezTo>
                        <a:pt x="497" y="116"/>
                        <a:pt x="553" y="190"/>
                        <a:pt x="553" y="277"/>
                      </a:cubicBezTo>
                      <a:cubicBezTo>
                        <a:pt x="479" y="277"/>
                        <a:pt x="479" y="277"/>
                        <a:pt x="479" y="277"/>
                      </a:cubicBezTo>
                      <a:cubicBezTo>
                        <a:pt x="538" y="355"/>
                        <a:pt x="538" y="355"/>
                        <a:pt x="538" y="355"/>
                      </a:cubicBezTo>
                      <a:cubicBezTo>
                        <a:pt x="589" y="423"/>
                        <a:pt x="589" y="423"/>
                        <a:pt x="589" y="423"/>
                      </a:cubicBezTo>
                      <a:cubicBezTo>
                        <a:pt x="594" y="429"/>
                        <a:pt x="594" y="429"/>
                        <a:pt x="594" y="429"/>
                      </a:cubicBezTo>
                      <a:cubicBezTo>
                        <a:pt x="709" y="277"/>
                        <a:pt x="709" y="277"/>
                        <a:pt x="709" y="277"/>
                      </a:cubicBezTo>
                      <a:lnTo>
                        <a:pt x="631"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86" name="Freeform 6"/>
                <p:cNvSpPr>
                  <a:spLocks/>
                </p:cNvSpPr>
                <p:nvPr/>
              </p:nvSpPr>
              <p:spPr bwMode="auto">
                <a:xfrm>
                  <a:off x="6033" y="2249"/>
                  <a:ext cx="272" cy="271"/>
                </a:xfrm>
                <a:custGeom>
                  <a:avLst/>
                  <a:gdLst>
                    <a:gd name="T0" fmla="*/ 272 w 272"/>
                    <a:gd name="T1" fmla="*/ 40 h 271"/>
                    <a:gd name="T2" fmla="*/ 40 w 272"/>
                    <a:gd name="T3" fmla="*/ 271 h 271"/>
                    <a:gd name="T4" fmla="*/ 0 w 272"/>
                    <a:gd name="T5" fmla="*/ 231 h 271"/>
                    <a:gd name="T6" fmla="*/ 232 w 272"/>
                    <a:gd name="T7" fmla="*/ 0 h 271"/>
                    <a:gd name="T8" fmla="*/ 272 w 272"/>
                    <a:gd name="T9" fmla="*/ 40 h 271"/>
                  </a:gdLst>
                  <a:ahLst/>
                  <a:cxnLst>
                    <a:cxn ang="0">
                      <a:pos x="T0" y="T1"/>
                    </a:cxn>
                    <a:cxn ang="0">
                      <a:pos x="T2" y="T3"/>
                    </a:cxn>
                    <a:cxn ang="0">
                      <a:pos x="T4" y="T5"/>
                    </a:cxn>
                    <a:cxn ang="0">
                      <a:pos x="T6" y="T7"/>
                    </a:cxn>
                    <a:cxn ang="0">
                      <a:pos x="T8" y="T9"/>
                    </a:cxn>
                  </a:cxnLst>
                  <a:rect l="0" t="0" r="r" b="b"/>
                  <a:pathLst>
                    <a:path w="272" h="271">
                      <a:moveTo>
                        <a:pt x="272" y="40"/>
                      </a:moveTo>
                      <a:lnTo>
                        <a:pt x="40" y="271"/>
                      </a:lnTo>
                      <a:lnTo>
                        <a:pt x="0" y="231"/>
                      </a:lnTo>
                      <a:lnTo>
                        <a:pt x="232" y="0"/>
                      </a:lnTo>
                      <a:lnTo>
                        <a:pt x="272"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grpSp>
      </p:grpSp>
      <p:sp>
        <p:nvSpPr>
          <p:cNvPr id="48" name="Rectangle 47"/>
          <p:cNvSpPr/>
          <p:nvPr/>
        </p:nvSpPr>
        <p:spPr>
          <a:xfrm>
            <a:off x="373944" y="1077948"/>
            <a:ext cx="10730935" cy="461665"/>
          </a:xfrm>
          <a:prstGeom prst="rect">
            <a:avLst/>
          </a:prstGeom>
        </p:spPr>
        <p:txBody>
          <a:bodyPr wrap="square">
            <a:spAutoFit/>
          </a:bodyPr>
          <a:lstStyle/>
          <a:p>
            <a:r>
              <a:rPr lang="en-US" sz="2400" dirty="0">
                <a:solidFill>
                  <a:srgbClr val="002060"/>
                </a:solidFill>
                <a:latin typeface="Segoe UI Light"/>
              </a:rPr>
              <a:t>SQL Server 2016</a:t>
            </a:r>
          </a:p>
        </p:txBody>
      </p:sp>
    </p:spTree>
    <p:extLst>
      <p:ext uri="{BB962C8B-B14F-4D97-AF65-F5344CB8AC3E}">
        <p14:creationId xmlns:p14="http://schemas.microsoft.com/office/powerpoint/2010/main" val="2948481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91440" tIns="93260" rIns="91440" bIns="93260" rtlCol="0" anchor="t">
            <a:noAutofit/>
          </a:bodyPr>
          <a:lstStyle/>
          <a:p>
            <a:r>
              <a:rPr lang="en-US" sz="4800" dirty="0" smtClean="0"/>
              <a:t>SQL Server 2014 Managed Backup to Azure</a:t>
            </a:r>
            <a:endParaRPr lang="en-US" sz="4800" dirty="0"/>
          </a:p>
        </p:txBody>
      </p:sp>
      <p:sp>
        <p:nvSpPr>
          <p:cNvPr id="3" name="Content Placeholder 2"/>
          <p:cNvSpPr>
            <a:spLocks noGrp="1"/>
          </p:cNvSpPr>
          <p:nvPr>
            <p:ph sz="quarter" idx="10"/>
          </p:nvPr>
        </p:nvSpPr>
        <p:spPr>
          <a:xfrm>
            <a:off x="457200" y="1211262"/>
            <a:ext cx="5029199" cy="6229141"/>
          </a:xfrm>
        </p:spPr>
        <p:txBody>
          <a:bodyPr lIns="91440" tIns="91440" rIns="91440" bIns="91440"/>
          <a:lstStyle/>
          <a:p>
            <a:pPr marL="0" indent="0" defTabSz="932418">
              <a:spcBef>
                <a:spcPts val="600"/>
              </a:spcBef>
              <a:buSzPct val="100000"/>
              <a:buNone/>
            </a:pPr>
            <a:r>
              <a:rPr lang="en-US" sz="2000" dirty="0">
                <a:solidFill>
                  <a:srgbClr val="002060"/>
                </a:solidFill>
                <a:latin typeface="+mj-lt"/>
              </a:rPr>
              <a:t>What is it?</a:t>
            </a:r>
          </a:p>
          <a:p>
            <a:pPr marL="466208" lvl="1" indent="0" defTabSz="932418">
              <a:spcBef>
                <a:spcPts val="600"/>
              </a:spcBef>
              <a:buSzPct val="110000"/>
              <a:buNone/>
            </a:pPr>
            <a:r>
              <a:rPr lang="en-US" sz="1600" dirty="0">
                <a:solidFill>
                  <a:schemeClr val="tx1"/>
                </a:solidFill>
              </a:rPr>
              <a:t>An agent that manages and automates SQL Server backup </a:t>
            </a:r>
            <a:r>
              <a:rPr lang="en-US" sz="1600" dirty="0" smtClean="0">
                <a:solidFill>
                  <a:schemeClr val="tx1"/>
                </a:solidFill>
              </a:rPr>
              <a:t>policy</a:t>
            </a:r>
            <a:endParaRPr lang="en-US" sz="2000" b="1" dirty="0" smtClean="0">
              <a:solidFill>
                <a:schemeClr val="tx1"/>
              </a:solidFill>
            </a:endParaRPr>
          </a:p>
          <a:p>
            <a:pPr marL="0" indent="0" defTabSz="932418">
              <a:lnSpc>
                <a:spcPct val="100000"/>
              </a:lnSpc>
              <a:spcBef>
                <a:spcPts val="2000"/>
              </a:spcBef>
              <a:buSzPct val="100000"/>
              <a:buNone/>
            </a:pPr>
            <a:r>
              <a:rPr lang="en-US" sz="2000" dirty="0" smtClean="0">
                <a:solidFill>
                  <a:srgbClr val="002060"/>
                </a:solidFill>
                <a:latin typeface="+mj-lt"/>
              </a:rPr>
              <a:t>Benefits</a:t>
            </a:r>
            <a:endParaRPr lang="en-US" sz="2000" dirty="0">
              <a:solidFill>
                <a:srgbClr val="002060"/>
              </a:solidFill>
              <a:latin typeface="+mj-lt"/>
            </a:endParaRPr>
          </a:p>
          <a:p>
            <a:pPr marL="466208" lvl="1" indent="0" defTabSz="932418">
              <a:lnSpc>
                <a:spcPct val="100000"/>
              </a:lnSpc>
              <a:spcBef>
                <a:spcPts val="1000"/>
              </a:spcBef>
              <a:buSzPct val="110000"/>
              <a:buNone/>
            </a:pPr>
            <a:r>
              <a:rPr lang="en-US" sz="1600" dirty="0">
                <a:solidFill>
                  <a:schemeClr val="tx1"/>
                </a:solidFill>
              </a:rPr>
              <a:t>Simple </a:t>
            </a:r>
            <a:r>
              <a:rPr lang="en-US" sz="1600" dirty="0" smtClean="0">
                <a:solidFill>
                  <a:schemeClr val="tx1"/>
                </a:solidFill>
              </a:rPr>
              <a:t>and </a:t>
            </a:r>
            <a:r>
              <a:rPr lang="en-US" sz="1600" dirty="0" smtClean="0"/>
              <a:t>f</a:t>
            </a:r>
            <a:r>
              <a:rPr lang="en-US" sz="1600" dirty="0" smtClean="0">
                <a:solidFill>
                  <a:schemeClr val="tx1"/>
                </a:solidFill>
              </a:rPr>
              <a:t>lexible</a:t>
            </a:r>
            <a:endParaRPr lang="en-US" sz="1600" dirty="0">
              <a:solidFill>
                <a:schemeClr val="tx1"/>
              </a:solidFill>
            </a:endParaRPr>
          </a:p>
          <a:p>
            <a:pPr marL="932513" lvl="2" indent="0" defTabSz="932418">
              <a:spcBef>
                <a:spcPts val="600"/>
              </a:spcBef>
              <a:buSzPct val="110000"/>
              <a:buNone/>
            </a:pPr>
            <a:r>
              <a:rPr lang="en-US" sz="1400" dirty="0">
                <a:solidFill>
                  <a:schemeClr val="tx1"/>
                </a:solidFill>
              </a:rPr>
              <a:t>Minimal input (</a:t>
            </a:r>
            <a:r>
              <a:rPr lang="en-US" sz="1400" dirty="0" smtClean="0">
                <a:solidFill>
                  <a:schemeClr val="tx1"/>
                </a:solidFill>
              </a:rPr>
              <a:t>controls </a:t>
            </a:r>
            <a:r>
              <a:rPr lang="en-US" sz="1400" dirty="0">
                <a:solidFill>
                  <a:schemeClr val="tx1"/>
                </a:solidFill>
              </a:rPr>
              <a:t>retention </a:t>
            </a:r>
            <a:r>
              <a:rPr lang="en-US" sz="1400" dirty="0" smtClean="0">
                <a:solidFill>
                  <a:schemeClr val="tx1"/>
                </a:solidFill>
              </a:rPr>
              <a:t>period)</a:t>
            </a:r>
            <a:endParaRPr lang="en-US" sz="1400" dirty="0">
              <a:solidFill>
                <a:schemeClr val="tx1"/>
              </a:solidFill>
            </a:endParaRPr>
          </a:p>
          <a:p>
            <a:pPr marL="932513" lvl="2" indent="0" defTabSz="932418">
              <a:spcBef>
                <a:spcPts val="600"/>
              </a:spcBef>
              <a:buSzPct val="110000"/>
              <a:buNone/>
            </a:pPr>
            <a:r>
              <a:rPr lang="en-US" sz="1400" dirty="0">
                <a:solidFill>
                  <a:schemeClr val="tx1"/>
                </a:solidFill>
              </a:rPr>
              <a:t>Manages entire </a:t>
            </a:r>
            <a:r>
              <a:rPr lang="en-US" sz="1400" dirty="0" smtClean="0">
                <a:solidFill>
                  <a:schemeClr val="tx1"/>
                </a:solidFill>
              </a:rPr>
              <a:t>instance </a:t>
            </a:r>
            <a:r>
              <a:rPr lang="en-US" sz="1400" dirty="0">
                <a:solidFill>
                  <a:schemeClr val="tx1"/>
                </a:solidFill>
              </a:rPr>
              <a:t>or </a:t>
            </a:r>
            <a:r>
              <a:rPr lang="en-US" sz="1400" dirty="0" smtClean="0">
                <a:solidFill>
                  <a:schemeClr val="tx1"/>
                </a:solidFill>
              </a:rPr>
              <a:t>individual databases </a:t>
            </a:r>
            <a:endParaRPr lang="en-US" sz="1400" dirty="0">
              <a:solidFill>
                <a:schemeClr val="tx1"/>
              </a:solidFill>
            </a:endParaRPr>
          </a:p>
          <a:p>
            <a:pPr marL="466208" lvl="1" indent="0" defTabSz="932418">
              <a:lnSpc>
                <a:spcPct val="100000"/>
              </a:lnSpc>
              <a:spcBef>
                <a:spcPts val="1000"/>
              </a:spcBef>
              <a:buSzPct val="110000"/>
              <a:buNone/>
            </a:pPr>
            <a:r>
              <a:rPr lang="en-US" sz="1600" dirty="0">
                <a:solidFill>
                  <a:schemeClr val="tx1"/>
                </a:solidFill>
              </a:rPr>
              <a:t>Leverages </a:t>
            </a:r>
            <a:r>
              <a:rPr lang="en-US" sz="1600" dirty="0" smtClean="0">
                <a:solidFill>
                  <a:schemeClr val="tx1"/>
                </a:solidFill>
              </a:rPr>
              <a:t>backup </a:t>
            </a:r>
            <a:r>
              <a:rPr lang="en-US" sz="1600" dirty="0">
                <a:solidFill>
                  <a:schemeClr val="tx1"/>
                </a:solidFill>
              </a:rPr>
              <a:t>to Azure (page blob)</a:t>
            </a:r>
          </a:p>
          <a:p>
            <a:pPr marL="932513" lvl="2" indent="0" defTabSz="932418">
              <a:spcBef>
                <a:spcPts val="600"/>
              </a:spcBef>
              <a:buSzPct val="110000"/>
              <a:buNone/>
            </a:pPr>
            <a:r>
              <a:rPr lang="en-US" sz="1400" dirty="0"/>
              <a:t>Supports backup encryption</a:t>
            </a:r>
          </a:p>
          <a:p>
            <a:pPr marL="932513" lvl="2" indent="0" defTabSz="932418">
              <a:spcBef>
                <a:spcPts val="600"/>
              </a:spcBef>
              <a:buSzPct val="110000"/>
              <a:buNone/>
            </a:pPr>
            <a:r>
              <a:rPr lang="en-US" sz="1400" dirty="0">
                <a:solidFill>
                  <a:schemeClr val="tx1"/>
                </a:solidFill>
              </a:rPr>
              <a:t>Inherently </a:t>
            </a:r>
            <a:r>
              <a:rPr lang="en-US" sz="1400" dirty="0" smtClean="0">
                <a:solidFill>
                  <a:schemeClr val="tx1"/>
                </a:solidFill>
              </a:rPr>
              <a:t>off-site and </a:t>
            </a:r>
            <a:r>
              <a:rPr lang="en-US" sz="1400" dirty="0">
                <a:solidFill>
                  <a:schemeClr val="tx1"/>
                </a:solidFill>
              </a:rPr>
              <a:t>geo-redundant</a:t>
            </a:r>
          </a:p>
          <a:p>
            <a:pPr marL="932513" lvl="2" indent="0" defTabSz="932418">
              <a:spcBef>
                <a:spcPts val="600"/>
              </a:spcBef>
              <a:buSzPct val="110000"/>
              <a:buNone/>
            </a:pPr>
            <a:r>
              <a:rPr lang="en-US" sz="1400" dirty="0">
                <a:solidFill>
                  <a:schemeClr val="tx1"/>
                </a:solidFill>
              </a:rPr>
              <a:t>Minimal storage </a:t>
            </a:r>
            <a:r>
              <a:rPr lang="en-US" sz="1400" dirty="0" smtClean="0">
                <a:solidFill>
                  <a:schemeClr val="tx1"/>
                </a:solidFill>
              </a:rPr>
              <a:t>cost and hardware </a:t>
            </a:r>
            <a:r>
              <a:rPr lang="en-US" sz="1400" dirty="0">
                <a:solidFill>
                  <a:schemeClr val="tx1"/>
                </a:solidFill>
              </a:rPr>
              <a:t>management</a:t>
            </a:r>
          </a:p>
          <a:p>
            <a:pPr marL="466208" lvl="1" indent="0" defTabSz="932418">
              <a:lnSpc>
                <a:spcPct val="100000"/>
              </a:lnSpc>
              <a:spcBef>
                <a:spcPts val="1000"/>
              </a:spcBef>
              <a:buSzPct val="110000"/>
              <a:buNone/>
            </a:pPr>
            <a:r>
              <a:rPr lang="en-US" sz="1600" dirty="0" smtClean="0">
                <a:solidFill>
                  <a:schemeClr val="tx1"/>
                </a:solidFill>
              </a:rPr>
              <a:t>Built-in intelligence</a:t>
            </a:r>
            <a:endParaRPr lang="en-US" sz="1600" dirty="0">
              <a:solidFill>
                <a:schemeClr val="tx1"/>
              </a:solidFill>
            </a:endParaRPr>
          </a:p>
          <a:p>
            <a:pPr marL="874199" lvl="2" indent="0" defTabSz="932418">
              <a:spcBef>
                <a:spcPts val="600"/>
              </a:spcBef>
              <a:buSzPct val="110000"/>
              <a:buNone/>
            </a:pPr>
            <a:r>
              <a:rPr lang="en-US" sz="1400" dirty="0">
                <a:solidFill>
                  <a:schemeClr val="tx1"/>
                </a:solidFill>
              </a:rPr>
              <a:t>Retention</a:t>
            </a:r>
          </a:p>
          <a:p>
            <a:pPr marL="874199" lvl="2" indent="0" defTabSz="932418">
              <a:spcBef>
                <a:spcPts val="600"/>
              </a:spcBef>
              <a:buSzPct val="110000"/>
              <a:buNone/>
            </a:pPr>
            <a:r>
              <a:rPr lang="en-US" sz="1400" dirty="0"/>
              <a:t>Context-aware </a:t>
            </a:r>
            <a:r>
              <a:rPr lang="en-US" sz="1400" dirty="0" smtClean="0"/>
              <a:t>(for example, workload/throttling)</a:t>
            </a:r>
            <a:endParaRPr lang="en-US" sz="1400" dirty="0"/>
          </a:p>
          <a:p>
            <a:pPr marL="874199" lvl="2" indent="0" defTabSz="932418">
              <a:spcBef>
                <a:spcPts val="600"/>
              </a:spcBef>
              <a:buSzPct val="110000"/>
              <a:buNone/>
            </a:pPr>
            <a:r>
              <a:rPr lang="en-US" sz="1400" dirty="0">
                <a:solidFill>
                  <a:schemeClr val="tx1"/>
                </a:solidFill>
              </a:rPr>
              <a:t>Backups consider </a:t>
            </a:r>
            <a:r>
              <a:rPr lang="en-US" sz="1400" dirty="0"/>
              <a:t>log accumulation</a:t>
            </a:r>
            <a:endParaRPr lang="en-US" sz="1400" dirty="0">
              <a:solidFill>
                <a:schemeClr val="tx1"/>
              </a:solidFill>
            </a:endParaRPr>
          </a:p>
          <a:p>
            <a:pPr marL="466208" lvl="1" indent="0" defTabSz="932418">
              <a:spcBef>
                <a:spcPts val="600"/>
              </a:spcBef>
              <a:buSzPct val="110000"/>
              <a:buNone/>
            </a:pPr>
            <a:endParaRPr lang="en-US" sz="2040" dirty="0">
              <a:solidFill>
                <a:schemeClr val="tx1"/>
              </a:solidFill>
            </a:endParaRPr>
          </a:p>
          <a:p>
            <a:pPr marL="466208" lvl="1" indent="0" defTabSz="932418">
              <a:spcBef>
                <a:spcPts val="600"/>
              </a:spcBef>
              <a:buSzPct val="110000"/>
              <a:buNone/>
            </a:pPr>
            <a:endParaRPr lang="en-US" sz="2040" dirty="0"/>
          </a:p>
          <a:p>
            <a:pPr marL="0" indent="0">
              <a:spcBef>
                <a:spcPts val="600"/>
              </a:spcBef>
              <a:buNone/>
            </a:pPr>
            <a:endParaRPr lang="it-IT" dirty="0"/>
          </a:p>
        </p:txBody>
      </p:sp>
      <p:pic>
        <p:nvPicPr>
          <p:cNvPr id="4" name="Picture 3"/>
          <p:cNvPicPr>
            <a:picLocks noChangeAspect="1"/>
          </p:cNvPicPr>
          <p:nvPr/>
        </p:nvPicPr>
        <p:blipFill rotWithShape="1">
          <a:blip r:embed="rId3"/>
          <a:srcRect l="1410" t="608" r="886"/>
          <a:stretch/>
        </p:blipFill>
        <p:spPr>
          <a:xfrm>
            <a:off x="6218237" y="2201862"/>
            <a:ext cx="2439308" cy="4460875"/>
          </a:xfrm>
          <a:prstGeom prst="rect">
            <a:avLst/>
          </a:prstGeom>
          <a:ln w="63500">
            <a:solidFill>
              <a:schemeClr val="accent1"/>
            </a:solidFill>
            <a:miter lim="800000"/>
          </a:ln>
        </p:spPr>
      </p:pic>
      <p:sp>
        <p:nvSpPr>
          <p:cNvPr id="8" name="Rectangle 7"/>
          <p:cNvSpPr/>
          <p:nvPr/>
        </p:nvSpPr>
        <p:spPr>
          <a:xfrm>
            <a:off x="7641652" y="2651360"/>
            <a:ext cx="4404104" cy="2094689"/>
          </a:xfrm>
          <a:prstGeom prst="rect">
            <a:avLst/>
          </a:prstGeom>
          <a:solidFill>
            <a:schemeClr val="bg1">
              <a:lumMod val="95000"/>
            </a:schemeClr>
          </a:solidFill>
          <a:ln w="76200">
            <a:solidFill>
              <a:schemeClr val="accent1"/>
            </a:solidFill>
            <a:miter lim="800000"/>
          </a:ln>
        </p:spPr>
        <p:txBody>
          <a:bodyPr wrap="square" lIns="182880" tIns="91440" rIns="182880" bIns="91440" anchor="ctr" anchorCtr="0">
            <a:spAutoFit/>
          </a:bodyPr>
          <a:lstStyle/>
          <a:p>
            <a:pPr marL="182880" defTabSz="621716">
              <a:spcBef>
                <a:spcPts val="600"/>
              </a:spcBef>
            </a:pPr>
            <a:r>
              <a:rPr lang="en-US" sz="1632" b="1" dirty="0">
                <a:solidFill>
                  <a:srgbClr val="000000"/>
                </a:solidFill>
              </a:rPr>
              <a:t>Example:</a:t>
            </a:r>
          </a:p>
          <a:p>
            <a:pPr marL="182880" defTabSz="621716"/>
            <a:r>
              <a:rPr lang="en-US" sz="1360" i="1" dirty="0">
                <a:solidFill>
                  <a:srgbClr val="000000"/>
                </a:solidFill>
              </a:rPr>
              <a:t>EXEC smart_admin.sp_set_db_backup </a:t>
            </a:r>
          </a:p>
          <a:p>
            <a:pPr marL="182880" defTabSz="621716"/>
            <a:r>
              <a:rPr lang="en-US" sz="1360" i="1" dirty="0">
                <a:solidFill>
                  <a:srgbClr val="000000"/>
                </a:solidFill>
              </a:rPr>
              <a:t>                @database_name='TestDB', </a:t>
            </a:r>
          </a:p>
          <a:p>
            <a:pPr marL="182880" defTabSz="621716"/>
            <a:r>
              <a:rPr lang="en-US" sz="1360" i="1" dirty="0">
                <a:solidFill>
                  <a:srgbClr val="000000"/>
                </a:solidFill>
              </a:rPr>
              <a:t>                @retention_days=30, </a:t>
            </a:r>
          </a:p>
          <a:p>
            <a:pPr marL="182880" defTabSz="621716"/>
            <a:r>
              <a:rPr lang="en-US" sz="1360" i="1" dirty="0">
                <a:solidFill>
                  <a:srgbClr val="000000"/>
                </a:solidFill>
              </a:rPr>
              <a:t>                @credential_name='MyCredential',</a:t>
            </a:r>
          </a:p>
          <a:p>
            <a:pPr marL="182880" defTabSz="621716"/>
            <a:r>
              <a:rPr lang="en-US" sz="1360" i="1" dirty="0">
                <a:solidFill>
                  <a:srgbClr val="000000"/>
                </a:solidFill>
              </a:rPr>
              <a:t>                @encryption_algorithm='NO_ENCRYPTION',</a:t>
            </a:r>
          </a:p>
          <a:p>
            <a:pPr marL="182880" defTabSz="621716"/>
            <a:r>
              <a:rPr lang="en-US" sz="1360" i="1" dirty="0">
                <a:solidFill>
                  <a:srgbClr val="000000"/>
                </a:solidFill>
              </a:rPr>
              <a:t>                @enable_backup=1</a:t>
            </a:r>
          </a:p>
          <a:p>
            <a:pPr marL="182880" defTabSz="621716"/>
            <a:r>
              <a:rPr lang="en-US" sz="1360" i="1" dirty="0">
                <a:solidFill>
                  <a:srgbClr val="000000"/>
                </a:solidFill>
              </a:rPr>
              <a:t>GO</a:t>
            </a:r>
          </a:p>
        </p:txBody>
      </p:sp>
    </p:spTree>
    <p:extLst>
      <p:ext uri="{BB962C8B-B14F-4D97-AF65-F5344CB8AC3E}">
        <p14:creationId xmlns:p14="http://schemas.microsoft.com/office/powerpoint/2010/main" val="401228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651791" cy="914365"/>
          </a:xfrm>
        </p:spPr>
        <p:txBody>
          <a:bodyPr lIns="91440" rIns="91440"/>
          <a:lstStyle/>
          <a:p>
            <a:r>
              <a:rPr lang="en-US" sz="4800" dirty="0" smtClean="0"/>
              <a:t>Managed Backup to Azure in SQL </a:t>
            </a:r>
            <a:r>
              <a:rPr lang="en-US" sz="4800" dirty="0"/>
              <a:t>Server </a:t>
            </a:r>
            <a:r>
              <a:rPr lang="en-US" sz="4800" dirty="0" smtClean="0"/>
              <a:t>2016</a:t>
            </a:r>
            <a:endParaRPr lang="en-US" sz="4800" dirty="0"/>
          </a:p>
        </p:txBody>
      </p:sp>
      <p:sp>
        <p:nvSpPr>
          <p:cNvPr id="4" name="Content Placeholder 2"/>
          <p:cNvSpPr txBox="1">
            <a:spLocks/>
          </p:cNvSpPr>
          <p:nvPr/>
        </p:nvSpPr>
        <p:spPr>
          <a:xfrm>
            <a:off x="274638" y="1434571"/>
            <a:ext cx="10972800" cy="262379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6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500"/>
              </a:spcBef>
              <a:buFont typeface="Arial" pitchFamily="34" charset="0"/>
              <a:buNone/>
            </a:pPr>
            <a:r>
              <a:rPr lang="en-US" sz="2400" dirty="0" smtClean="0">
                <a:latin typeface="+mj-lt"/>
              </a:rPr>
              <a:t>Supports system databases</a:t>
            </a:r>
          </a:p>
          <a:p>
            <a:pPr marL="0" indent="0">
              <a:lnSpc>
                <a:spcPct val="100000"/>
              </a:lnSpc>
              <a:spcBef>
                <a:spcPts val="2500"/>
              </a:spcBef>
              <a:buFont typeface="Arial" pitchFamily="34" charset="0"/>
              <a:buNone/>
            </a:pPr>
            <a:r>
              <a:rPr lang="en-US" sz="2400" dirty="0" smtClean="0">
                <a:latin typeface="+mj-lt"/>
              </a:rPr>
              <a:t>Supports databases in simple recovery mode</a:t>
            </a:r>
          </a:p>
          <a:p>
            <a:pPr marL="0" indent="0">
              <a:lnSpc>
                <a:spcPct val="100000"/>
              </a:lnSpc>
              <a:spcBef>
                <a:spcPts val="2500"/>
              </a:spcBef>
              <a:buFont typeface="Arial" pitchFamily="34" charset="0"/>
              <a:buNone/>
            </a:pPr>
            <a:r>
              <a:rPr lang="en-US" sz="2400" dirty="0" smtClean="0">
                <a:solidFill>
                  <a:schemeClr val="tx1"/>
                </a:solidFill>
                <a:latin typeface="+mj-lt"/>
              </a:rPr>
              <a:t>Leverages backup to block blobs for more granular control</a:t>
            </a:r>
          </a:p>
          <a:p>
            <a:pPr marL="0" indent="0">
              <a:lnSpc>
                <a:spcPct val="100000"/>
              </a:lnSpc>
              <a:spcBef>
                <a:spcPts val="2500"/>
              </a:spcBef>
              <a:buFont typeface="Arial" pitchFamily="34" charset="0"/>
              <a:buNone/>
            </a:pPr>
            <a:r>
              <a:rPr lang="en-US" sz="2400" dirty="0" smtClean="0">
                <a:solidFill>
                  <a:schemeClr val="tx1"/>
                </a:solidFill>
                <a:latin typeface="+mj-lt"/>
              </a:rPr>
              <a:t>Allows customized backup schedules for full backup and log backup</a:t>
            </a:r>
          </a:p>
        </p:txBody>
      </p:sp>
    </p:spTree>
    <p:extLst>
      <p:ext uri="{BB962C8B-B14F-4D97-AF65-F5344CB8AC3E}">
        <p14:creationId xmlns:p14="http://schemas.microsoft.com/office/powerpoint/2010/main" val="3005802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8437" y="2354262"/>
            <a:ext cx="12115800" cy="683264"/>
          </a:xfrm>
          <a:prstGeom prst="rect">
            <a:avLst/>
          </a:prstGeom>
          <a:noFill/>
        </p:spPr>
        <p:txBody>
          <a:bodyPr vert="horz" wrap="square" lIns="91440" tIns="91440" rIns="91440" bIns="91440" rtlCol="0" anchor="t" anchorCtr="0">
            <a:spAutoFit/>
          </a:bodyPr>
          <a:lstStyle>
            <a:lvl1pPr algn="l" defTabSz="932742" rtl="0" eaLnBrk="1" latinLnBrk="0" hangingPunct="1">
              <a:lnSpc>
                <a:spcPct val="90000"/>
              </a:lnSpc>
              <a:spcBef>
                <a:spcPct val="0"/>
              </a:spcBef>
              <a:buNone/>
              <a:defRPr lang="en-US" sz="6000" b="0" kern="1200" cap="none" spc="-80" baseline="0">
                <a:ln w="3175">
                  <a:noFill/>
                </a:ln>
                <a:solidFill>
                  <a:srgbClr val="0072C6"/>
                </a:solidFill>
                <a:effectLst/>
                <a:latin typeface="+mj-lt"/>
                <a:ea typeface="+mn-ea"/>
                <a:cs typeface="Segoe UI" pitchFamily="34" charset="0"/>
              </a:defRPr>
            </a:lvl1pPr>
          </a:lstStyle>
          <a:p>
            <a:r>
              <a:rPr lang="en-US" sz="3600" dirty="0" smtClean="0">
                <a:solidFill>
                  <a:schemeClr val="tx1"/>
                </a:solidFill>
              </a:rPr>
              <a:t>05 </a:t>
            </a:r>
            <a:r>
              <a:rPr lang="en-US" sz="3600" dirty="0">
                <a:solidFill>
                  <a:schemeClr val="tx1"/>
                </a:solidFill>
              </a:rPr>
              <a:t>| </a:t>
            </a:r>
            <a:r>
              <a:rPr lang="en-US" sz="3600" dirty="0" smtClean="0">
                <a:solidFill>
                  <a:schemeClr val="tx1"/>
                </a:solidFill>
              </a:rPr>
              <a:t>Hybrid HA/DR Scenarios with SQL Server </a:t>
            </a:r>
            <a:endParaRPr lang="en-US" sz="3600" dirty="0">
              <a:solidFill>
                <a:schemeClr val="tx1"/>
              </a:solidFill>
            </a:endParaRPr>
          </a:p>
        </p:txBody>
      </p:sp>
    </p:spTree>
    <p:extLst>
      <p:ext uri="{BB962C8B-B14F-4D97-AF65-F5344CB8AC3E}">
        <p14:creationId xmlns:p14="http://schemas.microsoft.com/office/powerpoint/2010/main" val="382722003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sz="4800" dirty="0"/>
              <a:t>Managed Backup to Azure in </a:t>
            </a:r>
            <a:r>
              <a:rPr lang="en-US" sz="4800" dirty="0" smtClean="0"/>
              <a:t>SQL </a:t>
            </a:r>
            <a:r>
              <a:rPr lang="en-US" sz="4800" dirty="0"/>
              <a:t>Server </a:t>
            </a:r>
            <a:r>
              <a:rPr lang="en-US" sz="4800" dirty="0" smtClean="0"/>
              <a:t>2014</a:t>
            </a:r>
            <a:endParaRPr lang="en-US" sz="4800" dirty="0"/>
          </a:p>
        </p:txBody>
      </p:sp>
      <p:sp>
        <p:nvSpPr>
          <p:cNvPr id="2" name="Content Placeholder 1"/>
          <p:cNvSpPr>
            <a:spLocks noGrp="1"/>
          </p:cNvSpPr>
          <p:nvPr>
            <p:ph sz="quarter" idx="10"/>
          </p:nvPr>
        </p:nvSpPr>
        <p:spPr>
          <a:xfrm>
            <a:off x="457200" y="1371600"/>
            <a:ext cx="10972800" cy="5330690"/>
          </a:xfrm>
        </p:spPr>
        <p:txBody>
          <a:bodyPr lIns="91440" tIns="91440" rIns="91440" bIns="91440"/>
          <a:lstStyle/>
          <a:p>
            <a:pPr marL="0" indent="0">
              <a:spcBef>
                <a:spcPts val="600"/>
              </a:spcBef>
              <a:buNone/>
            </a:pPr>
            <a:r>
              <a:rPr lang="en-US" sz="2400" dirty="0">
                <a:solidFill>
                  <a:srgbClr val="002060"/>
                </a:solidFill>
                <a:latin typeface="+mj-lt"/>
              </a:rPr>
              <a:t>Prerequisites</a:t>
            </a:r>
            <a:r>
              <a:rPr lang="en-US" sz="2400" dirty="0" smtClean="0">
                <a:solidFill>
                  <a:srgbClr val="002060"/>
                </a:solidFill>
                <a:latin typeface="+mj-lt"/>
              </a:rPr>
              <a:t> </a:t>
            </a:r>
          </a:p>
          <a:p>
            <a:pPr marL="691139" lvl="1" indent="0">
              <a:spcBef>
                <a:spcPts val="600"/>
              </a:spcBef>
              <a:buNone/>
            </a:pPr>
            <a:r>
              <a:rPr lang="en-US" sz="1800" dirty="0"/>
              <a:t>SQL credential based on Azure </a:t>
            </a:r>
            <a:r>
              <a:rPr lang="en-US" sz="1800" dirty="0" smtClean="0"/>
              <a:t>Storage </a:t>
            </a:r>
            <a:r>
              <a:rPr lang="en-US" sz="1800" dirty="0"/>
              <a:t>account</a:t>
            </a:r>
          </a:p>
          <a:p>
            <a:pPr marL="691139" lvl="1" indent="0">
              <a:spcBef>
                <a:spcPts val="600"/>
              </a:spcBef>
              <a:buNone/>
            </a:pPr>
            <a:r>
              <a:rPr lang="en-US" sz="1800" dirty="0"/>
              <a:t>Enable SQL Server Agent </a:t>
            </a:r>
          </a:p>
          <a:p>
            <a:pPr marL="0" indent="0">
              <a:lnSpc>
                <a:spcPct val="100000"/>
              </a:lnSpc>
              <a:spcBef>
                <a:spcPts val="2000"/>
              </a:spcBef>
              <a:buNone/>
            </a:pPr>
            <a:r>
              <a:rPr lang="en-US" sz="2400" dirty="0">
                <a:solidFill>
                  <a:srgbClr val="002060"/>
                </a:solidFill>
                <a:latin typeface="+mj-lt"/>
              </a:rPr>
              <a:t>Backup logic</a:t>
            </a:r>
          </a:p>
          <a:p>
            <a:pPr marL="691139" lvl="1" indent="0">
              <a:spcBef>
                <a:spcPts val="600"/>
              </a:spcBef>
              <a:buNone/>
            </a:pPr>
            <a:r>
              <a:rPr lang="en-US" sz="1800" dirty="0"/>
              <a:t>Full: 1 </a:t>
            </a:r>
            <a:r>
              <a:rPr lang="en-US" sz="1800" dirty="0" smtClean="0"/>
              <a:t>week, </a:t>
            </a:r>
            <a:r>
              <a:rPr lang="en-US" sz="1800" dirty="0"/>
              <a:t>or </a:t>
            </a:r>
            <a:r>
              <a:rPr lang="en-US" sz="1800" dirty="0" smtClean="0"/>
              <a:t>1 GB </a:t>
            </a:r>
            <a:r>
              <a:rPr lang="en-US" sz="1800" dirty="0"/>
              <a:t>log growth; initial </a:t>
            </a:r>
            <a:r>
              <a:rPr lang="en-US" sz="1800" dirty="0" smtClean="0"/>
              <a:t>and </a:t>
            </a:r>
            <a:r>
              <a:rPr lang="en-US" sz="1800" dirty="0"/>
              <a:t>log chain broken</a:t>
            </a:r>
          </a:p>
          <a:p>
            <a:pPr marL="691139" lvl="1" indent="0">
              <a:spcBef>
                <a:spcPts val="600"/>
              </a:spcBef>
              <a:buNone/>
            </a:pPr>
            <a:r>
              <a:rPr lang="en-US" sz="1800" dirty="0"/>
              <a:t>Log: 2 </a:t>
            </a:r>
            <a:r>
              <a:rPr lang="en-US" sz="1800" dirty="0" smtClean="0"/>
              <a:t>hours, </a:t>
            </a:r>
            <a:r>
              <a:rPr lang="en-US" sz="1800" dirty="0"/>
              <a:t>or </a:t>
            </a:r>
            <a:r>
              <a:rPr lang="en-US" sz="1800" dirty="0" smtClean="0"/>
              <a:t>5 MB </a:t>
            </a:r>
            <a:r>
              <a:rPr lang="en-US" sz="1800" dirty="0"/>
              <a:t>log growth</a:t>
            </a:r>
          </a:p>
          <a:p>
            <a:pPr marL="0" indent="0">
              <a:lnSpc>
                <a:spcPct val="100000"/>
              </a:lnSpc>
              <a:spcBef>
                <a:spcPts val="2000"/>
              </a:spcBef>
              <a:buNone/>
            </a:pPr>
            <a:r>
              <a:rPr lang="en-US" sz="2400" dirty="0">
                <a:solidFill>
                  <a:srgbClr val="002060"/>
                </a:solidFill>
                <a:latin typeface="+mj-lt"/>
              </a:rPr>
              <a:t>Retention</a:t>
            </a:r>
          </a:p>
          <a:p>
            <a:pPr marL="691139" lvl="1" indent="0">
              <a:spcBef>
                <a:spcPts val="600"/>
              </a:spcBef>
              <a:buNone/>
            </a:pPr>
            <a:r>
              <a:rPr lang="en-US" sz="1800" dirty="0"/>
              <a:t>Up to 30 </a:t>
            </a:r>
            <a:r>
              <a:rPr lang="en-US" sz="1800" dirty="0" smtClean="0"/>
              <a:t>days </a:t>
            </a:r>
            <a:r>
              <a:rPr lang="en-US" sz="1800" dirty="0"/>
              <a:t>(capable of </a:t>
            </a:r>
            <a:r>
              <a:rPr lang="en-US" sz="1800" dirty="0" smtClean="0"/>
              <a:t>point-in-time recovery)</a:t>
            </a:r>
            <a:endParaRPr lang="en-US" sz="2000" dirty="0">
              <a:latin typeface="+mj-lt"/>
            </a:endParaRPr>
          </a:p>
          <a:p>
            <a:pPr marL="0" indent="0">
              <a:lnSpc>
                <a:spcPct val="100000"/>
              </a:lnSpc>
              <a:spcBef>
                <a:spcPts val="2000"/>
              </a:spcBef>
              <a:buNone/>
            </a:pPr>
            <a:r>
              <a:rPr lang="en-US" sz="2400" dirty="0" smtClean="0">
                <a:solidFill>
                  <a:srgbClr val="002060"/>
                </a:solidFill>
                <a:latin typeface="+mj-lt"/>
              </a:rPr>
              <a:t>Limitations</a:t>
            </a:r>
            <a:endParaRPr lang="en-US" sz="2400" dirty="0">
              <a:solidFill>
                <a:srgbClr val="002060"/>
              </a:solidFill>
              <a:latin typeface="+mj-lt"/>
            </a:endParaRPr>
          </a:p>
          <a:p>
            <a:pPr marL="691139" lvl="1" indent="0">
              <a:spcBef>
                <a:spcPts val="600"/>
              </a:spcBef>
              <a:buNone/>
            </a:pPr>
            <a:r>
              <a:rPr lang="en-US" sz="1800" dirty="0"/>
              <a:t>Full </a:t>
            </a:r>
            <a:r>
              <a:rPr lang="en-US" sz="1800" dirty="0" smtClean="0"/>
              <a:t>and </a:t>
            </a:r>
            <a:r>
              <a:rPr lang="en-US" sz="1800" dirty="0"/>
              <a:t>l</a:t>
            </a:r>
            <a:r>
              <a:rPr lang="en-US" sz="1800" dirty="0" smtClean="0"/>
              <a:t>og </a:t>
            </a:r>
            <a:r>
              <a:rPr lang="en-US" sz="1800" dirty="0"/>
              <a:t>backups only</a:t>
            </a:r>
          </a:p>
          <a:p>
            <a:pPr marL="691139" lvl="1" indent="0">
              <a:spcBef>
                <a:spcPts val="600"/>
              </a:spcBef>
              <a:buNone/>
            </a:pPr>
            <a:r>
              <a:rPr lang="en-US" sz="1800" dirty="0"/>
              <a:t>Recovery </a:t>
            </a:r>
            <a:r>
              <a:rPr lang="en-US" sz="1800" dirty="0" smtClean="0"/>
              <a:t>models</a:t>
            </a:r>
            <a:r>
              <a:rPr lang="en-US" sz="1800" dirty="0"/>
              <a:t>: </a:t>
            </a:r>
            <a:r>
              <a:rPr lang="en-US" sz="1800" dirty="0" smtClean="0"/>
              <a:t>full </a:t>
            </a:r>
            <a:r>
              <a:rPr lang="en-US" sz="1800" dirty="0"/>
              <a:t>or </a:t>
            </a:r>
            <a:r>
              <a:rPr lang="en-US" sz="1800" dirty="0" smtClean="0"/>
              <a:t>bulk-logged</a:t>
            </a:r>
            <a:endParaRPr lang="en-US" sz="1800" dirty="0"/>
          </a:p>
          <a:p>
            <a:pPr marL="691139" lvl="1" indent="0">
              <a:spcBef>
                <a:spcPts val="600"/>
              </a:spcBef>
              <a:buNone/>
            </a:pPr>
            <a:r>
              <a:rPr lang="en-US" sz="1800" dirty="0" smtClean="0"/>
              <a:t>User databases </a:t>
            </a:r>
            <a:r>
              <a:rPr lang="en-US" sz="1800" dirty="0"/>
              <a:t>only</a:t>
            </a:r>
          </a:p>
          <a:p>
            <a:pPr marL="691139" lvl="1" indent="0">
              <a:spcBef>
                <a:spcPts val="600"/>
              </a:spcBef>
              <a:buNone/>
            </a:pPr>
            <a:r>
              <a:rPr lang="en-US" sz="1800" dirty="0"/>
              <a:t>Max </a:t>
            </a:r>
            <a:r>
              <a:rPr lang="en-US" sz="1800" dirty="0" smtClean="0"/>
              <a:t>backup size </a:t>
            </a:r>
            <a:r>
              <a:rPr lang="en-US" sz="1800" dirty="0"/>
              <a:t>of </a:t>
            </a:r>
            <a:r>
              <a:rPr lang="en-US" sz="1800" dirty="0" smtClean="0"/>
              <a:t>1 TB (Azure </a:t>
            </a:r>
            <a:r>
              <a:rPr lang="en-US" sz="1800" dirty="0"/>
              <a:t>page blob limit</a:t>
            </a:r>
            <a:r>
              <a:rPr lang="en-US" sz="1800" dirty="0" smtClean="0"/>
              <a:t>)</a:t>
            </a:r>
            <a:endParaRPr lang="en-US" sz="1800" dirty="0"/>
          </a:p>
        </p:txBody>
      </p:sp>
    </p:spTree>
    <p:extLst>
      <p:ext uri="{BB962C8B-B14F-4D97-AF65-F5344CB8AC3E}">
        <p14:creationId xmlns:p14="http://schemas.microsoft.com/office/powerpoint/2010/main" val="260242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dirty="0" smtClean="0"/>
              <a:t>High Availability Best Practices</a:t>
            </a:r>
            <a:endParaRPr lang="en-US" dirty="0"/>
          </a:p>
        </p:txBody>
      </p:sp>
      <p:sp>
        <p:nvSpPr>
          <p:cNvPr id="4" name="Text Placeholder 3"/>
          <p:cNvSpPr>
            <a:spLocks noGrp="1"/>
          </p:cNvSpPr>
          <p:nvPr>
            <p:ph type="body" sz="quarter" idx="10"/>
          </p:nvPr>
        </p:nvSpPr>
        <p:spPr>
          <a:xfrm>
            <a:off x="274638" y="1212850"/>
            <a:ext cx="11887200" cy="4918269"/>
          </a:xfrm>
        </p:spPr>
        <p:txBody>
          <a:bodyPr/>
          <a:lstStyle/>
          <a:p>
            <a:pPr marL="457200" indent="-457200">
              <a:buFont typeface="Arial" panose="020B0604020202020204" pitchFamily="34" charset="0"/>
              <a:buChar char="•"/>
            </a:pPr>
            <a:r>
              <a:rPr lang="en-US" sz="2800" dirty="0" smtClean="0"/>
              <a:t>Configure a SQL HA technology (AlwaysOn / Database Mirroring) if</a:t>
            </a:r>
          </a:p>
          <a:p>
            <a:pPr lvl="3"/>
            <a:r>
              <a:rPr lang="en-US" dirty="0" smtClean="0"/>
              <a:t>You want failure detection for SQL Server (e.g., service down)</a:t>
            </a:r>
          </a:p>
          <a:p>
            <a:pPr lvl="3"/>
            <a:r>
              <a:rPr lang="en-US" dirty="0" smtClean="0"/>
              <a:t>You can’t stand recovery times due to Service Healing (12 minutes couple of times p/month) or Azure monthly upgrades (15 minutes p/month)</a:t>
            </a:r>
          </a:p>
          <a:p>
            <a:pPr marL="457200" indent="-457200">
              <a:buFont typeface="Arial" panose="020B0604020202020204" pitchFamily="34" charset="0"/>
              <a:buChar char="•"/>
            </a:pPr>
            <a:r>
              <a:rPr lang="en-US" sz="2800" dirty="0" smtClean="0"/>
              <a:t>Put replicas in the same </a:t>
            </a:r>
          </a:p>
          <a:p>
            <a:pPr lvl="3"/>
            <a:r>
              <a:rPr lang="en-US" dirty="0" smtClean="0"/>
              <a:t>Availability Set (Different Racks and Upgrade Domains)</a:t>
            </a:r>
          </a:p>
          <a:p>
            <a:pPr lvl="3"/>
            <a:r>
              <a:rPr lang="en-US" dirty="0" err="1" smtClean="0"/>
              <a:t>VNet</a:t>
            </a:r>
            <a:r>
              <a:rPr lang="en-US" dirty="0" smtClean="0"/>
              <a:t> (Maintain VM IPs)</a:t>
            </a:r>
          </a:p>
          <a:p>
            <a:pPr marL="457200" indent="-457200">
              <a:buFont typeface="Arial" panose="020B0604020202020204" pitchFamily="34" charset="0"/>
              <a:buChar char="•"/>
            </a:pPr>
            <a:r>
              <a:rPr lang="en-US" sz="2800" dirty="0" smtClean="0"/>
              <a:t>Use secondary replicas to offload reads/backups</a:t>
            </a:r>
          </a:p>
          <a:p>
            <a:pPr lvl="3"/>
            <a:r>
              <a:rPr lang="en-US" dirty="0" smtClean="0"/>
              <a:t>Load balance using Windows Azure’s Load Balancer</a:t>
            </a:r>
            <a:endParaRPr lang="en-US" dirty="0"/>
          </a:p>
          <a:p>
            <a:pPr lvl="1"/>
            <a:endParaRPr lang="en-US" sz="400" dirty="0" smtClean="0"/>
          </a:p>
        </p:txBody>
      </p:sp>
    </p:spTree>
    <p:extLst>
      <p:ext uri="{BB962C8B-B14F-4D97-AF65-F5344CB8AC3E}">
        <p14:creationId xmlns:p14="http://schemas.microsoft.com/office/powerpoint/2010/main" val="354674165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365760" y="365760"/>
            <a:ext cx="9882651" cy="699453"/>
          </a:xfrm>
          <a:prstGeom prst="rect">
            <a:avLst/>
          </a:prstGeom>
        </p:spPr>
        <p:txBody>
          <a:bodyPr vert="horz" lIns="93260" tIns="91440" rIns="93260" bIns="91440" rtlCol="0" anchor="t">
            <a:noAutofit/>
          </a:bodyPr>
          <a:lstStyle>
            <a:lvl1pPr marL="0" marR="0" indent="0" algn="l" defTabSz="457200"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r>
              <a:rPr sz="4800" dirty="0" smtClean="0">
                <a:solidFill>
                  <a:srgbClr val="0072C6"/>
                </a:solidFill>
                <a:cs typeface="+mj-cs"/>
              </a:rPr>
              <a:t>A sample configuration</a:t>
            </a:r>
            <a:endParaRPr sz="4800" dirty="0">
              <a:solidFill>
                <a:srgbClr val="0072C6"/>
              </a:solidFill>
              <a:latin typeface="Segoe UI"/>
              <a:ea typeface="+mn-ea"/>
              <a:cs typeface="+mj-cs"/>
            </a:endParaRPr>
          </a:p>
          <a:p>
            <a:endParaRPr sz="3672" dirty="0"/>
          </a:p>
        </p:txBody>
      </p:sp>
      <p:sp>
        <p:nvSpPr>
          <p:cNvPr id="4" name="TextBox 3"/>
          <p:cNvSpPr txBox="1"/>
          <p:nvPr/>
        </p:nvSpPr>
        <p:spPr>
          <a:xfrm>
            <a:off x="1189037" y="982662"/>
            <a:ext cx="9448800"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smtClean="0">
                <a:gradFill>
                  <a:gsLst>
                    <a:gs pos="2917">
                      <a:schemeClr val="tx1"/>
                    </a:gs>
                    <a:gs pos="30000">
                      <a:schemeClr val="tx1"/>
                    </a:gs>
                  </a:gsLst>
                  <a:lin ang="5400000" scaled="0"/>
                </a:gradFill>
                <a:latin typeface="+mj-lt"/>
              </a:rPr>
              <a:t>Availability Group</a:t>
            </a:r>
          </a:p>
        </p:txBody>
      </p:sp>
      <p:grpSp>
        <p:nvGrpSpPr>
          <p:cNvPr id="71" name="Group 70"/>
          <p:cNvGrpSpPr/>
          <p:nvPr/>
        </p:nvGrpSpPr>
        <p:grpSpPr>
          <a:xfrm>
            <a:off x="1189037" y="1668462"/>
            <a:ext cx="9982200" cy="4838721"/>
            <a:chOff x="1417637" y="2201862"/>
            <a:chExt cx="9982200" cy="4838721"/>
          </a:xfrm>
        </p:grpSpPr>
        <p:sp>
          <p:nvSpPr>
            <p:cNvPr id="45" name="Up Arrow 44"/>
            <p:cNvSpPr/>
            <p:nvPr/>
          </p:nvSpPr>
          <p:spPr bwMode="auto">
            <a:xfrm>
              <a:off x="3170237" y="5713444"/>
              <a:ext cx="152400" cy="533400"/>
            </a:xfrm>
            <a:prstGeom prst="upArrow">
              <a:avLst/>
            </a:prstGeom>
            <a:solidFill>
              <a:srgbClr val="008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Rounded Rectangle 68"/>
            <p:cNvSpPr/>
            <p:nvPr/>
          </p:nvSpPr>
          <p:spPr bwMode="auto">
            <a:xfrm>
              <a:off x="1417637" y="2201862"/>
              <a:ext cx="9448800" cy="2452084"/>
            </a:xfrm>
            <a:prstGeom prst="roundRect">
              <a:avLst/>
            </a:prstGeom>
            <a:solidFill>
              <a:srgbClr val="FFFFCC">
                <a:alpha val="27843"/>
              </a:srgbClr>
            </a:solid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1874837" y="5173662"/>
              <a:ext cx="3352800"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smtClean="0">
                  <a:solidFill>
                    <a:srgbClr val="00B050"/>
                  </a:solidFill>
                </a:rPr>
                <a:t>Listener</a:t>
              </a:r>
            </a:p>
          </p:txBody>
        </p:sp>
        <p:sp>
          <p:nvSpPr>
            <p:cNvPr id="9" name="TextBox 8"/>
            <p:cNvSpPr txBox="1"/>
            <p:nvPr/>
          </p:nvSpPr>
          <p:spPr>
            <a:xfrm>
              <a:off x="6599237" y="5105400"/>
              <a:ext cx="48006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t>Azure Load Balancer</a:t>
              </a:r>
            </a:p>
          </p:txBody>
        </p:sp>
        <p:grpSp>
          <p:nvGrpSpPr>
            <p:cNvPr id="68" name="Group 67"/>
            <p:cNvGrpSpPr/>
            <p:nvPr/>
          </p:nvGrpSpPr>
          <p:grpSpPr>
            <a:xfrm>
              <a:off x="6499300" y="5644546"/>
              <a:ext cx="3714518" cy="1396037"/>
              <a:chOff x="9013900" y="5073951"/>
              <a:chExt cx="3714518" cy="1396037"/>
            </a:xfrm>
          </p:grpSpPr>
          <p:sp>
            <p:nvSpPr>
              <p:cNvPr id="46" name="Up Arrow 45"/>
              <p:cNvSpPr/>
              <p:nvPr/>
            </p:nvSpPr>
            <p:spPr bwMode="auto">
              <a:xfrm>
                <a:off x="11476037" y="5073951"/>
                <a:ext cx="152400" cy="990600"/>
              </a:xfrm>
              <a:prstGeom prst="upArrow">
                <a:avLst/>
              </a:prstGeom>
              <a:solidFill>
                <a:srgbClr val="008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Up Arrow 47"/>
              <p:cNvSpPr/>
              <p:nvPr/>
            </p:nvSpPr>
            <p:spPr bwMode="auto">
              <a:xfrm>
                <a:off x="10409237" y="5073951"/>
                <a:ext cx="152400" cy="533400"/>
              </a:xfrm>
              <a:prstGeom prst="upArrow">
                <a:avLst/>
              </a:prstGeom>
              <a:solidFill>
                <a:srgbClr val="008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solidFill>
                    <a:srgbClr val="008000"/>
                  </a:solidFill>
                  <a:ea typeface="Segoe UI" pitchFamily="34" charset="0"/>
                  <a:cs typeface="Segoe UI" pitchFamily="34" charset="0"/>
                </a:endParaRPr>
              </a:p>
            </p:txBody>
          </p:sp>
          <p:sp>
            <p:nvSpPr>
              <p:cNvPr id="47" name="Up Arrow 46"/>
              <p:cNvSpPr/>
              <p:nvPr/>
            </p:nvSpPr>
            <p:spPr bwMode="auto">
              <a:xfrm>
                <a:off x="10942637" y="5073951"/>
                <a:ext cx="152400" cy="838200"/>
              </a:xfrm>
              <a:prstGeom prst="upArrow">
                <a:avLst/>
              </a:prstGeom>
              <a:solidFill>
                <a:srgbClr val="008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p:nvPr/>
            </p:nvGrpSpPr>
            <p:grpSpPr>
              <a:xfrm>
                <a:off x="9013900" y="5391090"/>
                <a:ext cx="3714518" cy="1078898"/>
                <a:chOff x="6118300" y="4705290"/>
                <a:chExt cx="3714518" cy="1078898"/>
              </a:xfrm>
            </p:grpSpPr>
            <p:sp>
              <p:nvSpPr>
                <p:cNvPr id="12" name="TextBox 11"/>
                <p:cNvSpPr txBox="1"/>
                <p:nvPr/>
              </p:nvSpPr>
              <p:spPr>
                <a:xfrm>
                  <a:off x="6118300" y="4705290"/>
                  <a:ext cx="1371600" cy="694658"/>
                </a:xfrm>
                <a:prstGeom prst="flowChartAlternateProcess">
                  <a:avLst/>
                </a:prstGeom>
                <a:solidFill>
                  <a:schemeClr val="bg1"/>
                </a:solidFill>
                <a:ln>
                  <a:solidFill>
                    <a:srgbClr val="008000"/>
                  </a:solidFill>
                </a:ln>
              </p:spPr>
              <p:txBody>
                <a:bodyPr wrap="square" lIns="91440" tIns="91440" rIns="91440" bIns="91440" rtlCol="0">
                  <a:spAutoFit/>
                </a:bodyPr>
                <a:lstStyle/>
                <a:p>
                  <a:pPr algn="ctr">
                    <a:lnSpc>
                      <a:spcPct val="90000"/>
                    </a:lnSpc>
                    <a:spcAft>
                      <a:spcPts val="600"/>
                    </a:spcAft>
                  </a:pPr>
                  <a:r>
                    <a:rPr lang="en-US" sz="1600" b="1" dirty="0" smtClean="0">
                      <a:solidFill>
                        <a:srgbClr val="008000"/>
                      </a:solidFill>
                      <a:latin typeface="+mj-lt"/>
                    </a:rPr>
                    <a:t>Reporting App</a:t>
                  </a:r>
                </a:p>
              </p:txBody>
            </p:sp>
            <p:sp>
              <p:nvSpPr>
                <p:cNvPr id="13" name="TextBox 12"/>
                <p:cNvSpPr txBox="1"/>
                <p:nvPr/>
              </p:nvSpPr>
              <p:spPr>
                <a:xfrm>
                  <a:off x="7065881" y="5089530"/>
                  <a:ext cx="1371600" cy="694658"/>
                </a:xfrm>
                <a:prstGeom prst="flowChartAlternateProcess">
                  <a:avLst/>
                </a:prstGeom>
                <a:solidFill>
                  <a:schemeClr val="bg1"/>
                </a:solidFill>
                <a:ln>
                  <a:solidFill>
                    <a:srgbClr val="008000"/>
                  </a:solidFill>
                </a:ln>
              </p:spPr>
              <p:txBody>
                <a:bodyPr wrap="square" lIns="91440" tIns="91440" rIns="91440" bIns="91440" rtlCol="0">
                  <a:spAutoFit/>
                </a:bodyPr>
                <a:lstStyle/>
                <a:p>
                  <a:pPr algn="ctr">
                    <a:lnSpc>
                      <a:spcPct val="90000"/>
                    </a:lnSpc>
                    <a:spcAft>
                      <a:spcPts val="600"/>
                    </a:spcAft>
                  </a:pPr>
                  <a:r>
                    <a:rPr lang="en-US" sz="1600" b="1" dirty="0" smtClean="0">
                      <a:solidFill>
                        <a:srgbClr val="008000"/>
                      </a:solidFill>
                      <a:latin typeface="+mj-lt"/>
                    </a:rPr>
                    <a:t>Reporting App</a:t>
                  </a:r>
                </a:p>
              </p:txBody>
            </p:sp>
            <p:sp>
              <p:nvSpPr>
                <p:cNvPr id="14" name="TextBox 13"/>
                <p:cNvSpPr txBox="1"/>
                <p:nvPr/>
              </p:nvSpPr>
              <p:spPr>
                <a:xfrm>
                  <a:off x="8461218" y="4809285"/>
                  <a:ext cx="1371600" cy="694658"/>
                </a:xfrm>
                <a:prstGeom prst="flowChartAlternateProcess">
                  <a:avLst/>
                </a:prstGeom>
                <a:solidFill>
                  <a:schemeClr val="bg1"/>
                </a:solidFill>
                <a:ln>
                  <a:solidFill>
                    <a:srgbClr val="008000"/>
                  </a:solidFill>
                </a:ln>
              </p:spPr>
              <p:txBody>
                <a:bodyPr wrap="square" lIns="91440" tIns="91440" rIns="91440" bIns="91440" rtlCol="0">
                  <a:spAutoFit/>
                </a:bodyPr>
                <a:lstStyle/>
                <a:p>
                  <a:pPr algn="ctr">
                    <a:lnSpc>
                      <a:spcPct val="90000"/>
                    </a:lnSpc>
                    <a:spcAft>
                      <a:spcPts val="600"/>
                    </a:spcAft>
                  </a:pPr>
                  <a:r>
                    <a:rPr lang="en-US" sz="1600" b="1" dirty="0" smtClean="0">
                      <a:solidFill>
                        <a:srgbClr val="008000"/>
                      </a:solidFill>
                      <a:latin typeface="+mj-lt"/>
                    </a:rPr>
                    <a:t>Reporting App</a:t>
                  </a:r>
                </a:p>
              </p:txBody>
            </p:sp>
          </p:grpSp>
        </p:grpSp>
        <p:grpSp>
          <p:nvGrpSpPr>
            <p:cNvPr id="23" name="Group 22"/>
            <p:cNvGrpSpPr/>
            <p:nvPr/>
          </p:nvGrpSpPr>
          <p:grpSpPr>
            <a:xfrm>
              <a:off x="1951037" y="3061684"/>
              <a:ext cx="927253" cy="1143000"/>
              <a:chOff x="6675437" y="144462"/>
              <a:chExt cx="927253" cy="114300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5437" y="144462"/>
                <a:ext cx="927253" cy="1143000"/>
              </a:xfrm>
              <a:prstGeom prst="rect">
                <a:avLst/>
              </a:prstGeom>
            </p:spPr>
          </p:pic>
          <p:sp>
            <p:nvSpPr>
              <p:cNvPr id="22" name="Flowchart: Decision 21"/>
              <p:cNvSpPr/>
              <p:nvPr/>
            </p:nvSpPr>
            <p:spPr bwMode="auto">
              <a:xfrm>
                <a:off x="6827837" y="153320"/>
                <a:ext cx="609600" cy="533400"/>
              </a:xfrm>
              <a:prstGeom prst="flowChartDecisio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P</a:t>
                </a:r>
              </a:p>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p:cNvGrpSpPr/>
            <p:nvPr/>
          </p:nvGrpSpPr>
          <p:grpSpPr>
            <a:xfrm>
              <a:off x="4084637" y="3061684"/>
              <a:ext cx="927253" cy="1165542"/>
              <a:chOff x="6751637" y="206978"/>
              <a:chExt cx="927253" cy="1165542"/>
            </a:xfrm>
          </p:grpSpPr>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637" y="229520"/>
                <a:ext cx="927253" cy="1143000"/>
              </a:xfrm>
              <a:prstGeom prst="rect">
                <a:avLst/>
              </a:prstGeom>
            </p:spPr>
          </p:pic>
          <p:sp>
            <p:nvSpPr>
              <p:cNvPr id="26" name="Flowchart: Decision 25"/>
              <p:cNvSpPr/>
              <p:nvPr/>
            </p:nvSpPr>
            <p:spPr bwMode="auto">
              <a:xfrm>
                <a:off x="6904037" y="206978"/>
                <a:ext cx="609600" cy="533400"/>
              </a:xfrm>
              <a:prstGeom prst="flowChartDecisio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1</a:t>
                </a:r>
              </a:p>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7" name="TextBox 6"/>
            <p:cNvSpPr txBox="1"/>
            <p:nvPr/>
          </p:nvSpPr>
          <p:spPr>
            <a:xfrm>
              <a:off x="1951037" y="2201862"/>
              <a:ext cx="3200400"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rPr>
                <a:t>Automatic Failover</a:t>
              </a:r>
            </a:p>
          </p:txBody>
        </p:sp>
        <p:cxnSp>
          <p:nvCxnSpPr>
            <p:cNvPr id="40" name="Straight Arrow Connector 39"/>
            <p:cNvCxnSpPr/>
            <p:nvPr/>
          </p:nvCxnSpPr>
          <p:spPr>
            <a:xfrm flipV="1">
              <a:off x="3322637" y="3954462"/>
              <a:ext cx="1066800" cy="1447800"/>
            </a:xfrm>
            <a:prstGeom prst="straightConnector1">
              <a:avLst/>
            </a:prstGeom>
            <a:ln w="50800" cap="sq">
              <a:solidFill>
                <a:srgbClr val="92D050"/>
              </a:solidFill>
              <a:prstDash val="dash"/>
              <a:beve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Up Arrow 40"/>
            <p:cNvSpPr/>
            <p:nvPr/>
          </p:nvSpPr>
          <p:spPr bwMode="auto">
            <a:xfrm rot="19473260" flipH="1">
              <a:off x="2686044" y="3875703"/>
              <a:ext cx="143095" cy="1686954"/>
            </a:xfrm>
            <a:prstGeom prst="upArrow">
              <a:avLst/>
            </a:prstGeom>
            <a:solidFill>
              <a:srgbClr val="00B050"/>
            </a:solidFill>
            <a:ln w="0">
              <a:solidFill>
                <a:srgbClr val="92D05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50" name="Straight Arrow Connector 49"/>
            <p:cNvCxnSpPr/>
            <p:nvPr/>
          </p:nvCxnSpPr>
          <p:spPr>
            <a:xfrm flipH="1" flipV="1">
              <a:off x="6599237" y="4295488"/>
              <a:ext cx="1524000" cy="914400"/>
            </a:xfrm>
            <a:prstGeom prst="straightConnector1">
              <a:avLst/>
            </a:prstGeom>
            <a:ln w="57150">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H="1" flipV="1">
              <a:off x="8123237" y="4295488"/>
              <a:ext cx="3928" cy="914400"/>
            </a:xfrm>
            <a:prstGeom prst="straightConnector1">
              <a:avLst/>
            </a:prstGeom>
            <a:ln w="57150">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123237" y="4295488"/>
              <a:ext cx="1447800" cy="914400"/>
            </a:xfrm>
            <a:prstGeom prst="straightConnector1">
              <a:avLst/>
            </a:prstGeom>
            <a:ln w="57150">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9494837" y="2970244"/>
              <a:ext cx="927253" cy="1143000"/>
              <a:chOff x="10333037" y="982662"/>
              <a:chExt cx="927253" cy="1143000"/>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3037" y="982662"/>
                <a:ext cx="927253" cy="1143000"/>
              </a:xfrm>
              <a:prstGeom prst="rect">
                <a:avLst/>
              </a:prstGeom>
            </p:spPr>
          </p:pic>
          <p:sp>
            <p:nvSpPr>
              <p:cNvPr id="58" name="Flowchart: Decision 57"/>
              <p:cNvSpPr/>
              <p:nvPr/>
            </p:nvSpPr>
            <p:spPr bwMode="auto">
              <a:xfrm>
                <a:off x="10485437" y="982662"/>
                <a:ext cx="609600" cy="533400"/>
              </a:xfrm>
              <a:prstGeom prst="flowChartDecisio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4</a:t>
                </a: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b="1" dirty="0" smtClean="0">
                    <a:solidFill>
                      <a:schemeClr val="tx1">
                        <a:lumMod val="50000"/>
                      </a:schemeClr>
                    </a:solidFill>
                    <a:ea typeface="Segoe UI" pitchFamily="34" charset="0"/>
                    <a:cs typeface="Segoe UI" pitchFamily="34" charset="0"/>
                  </a:rPr>
                  <a:t>(</a:t>
                </a:r>
                <a:r>
                  <a:rPr lang="en-US" sz="1400" b="1" dirty="0" smtClean="0">
                    <a:solidFill>
                      <a:schemeClr val="tx1">
                        <a:lumMod val="50000"/>
                      </a:schemeClr>
                    </a:solidFill>
                    <a:ea typeface="Segoe UI" pitchFamily="34" charset="0"/>
                    <a:cs typeface="Segoe UI" pitchFamily="34" charset="0"/>
                  </a:rPr>
                  <a:t>Readable</a:t>
                </a:r>
                <a:r>
                  <a:rPr lang="en-US" sz="1200" b="1" dirty="0" smtClean="0">
                    <a:solidFill>
                      <a:schemeClr val="tx1">
                        <a:lumMod val="50000"/>
                      </a:schemeClr>
                    </a:solidFill>
                    <a:ea typeface="Segoe UI" pitchFamily="34" charset="0"/>
                    <a:cs typeface="Segoe UI" pitchFamily="34" charset="0"/>
                  </a:rPr>
                  <a:t>)</a:t>
                </a:r>
              </a:p>
            </p:txBody>
          </p:sp>
        </p:grpSp>
        <p:grpSp>
          <p:nvGrpSpPr>
            <p:cNvPr id="60" name="Group 59"/>
            <p:cNvGrpSpPr/>
            <p:nvPr/>
          </p:nvGrpSpPr>
          <p:grpSpPr>
            <a:xfrm>
              <a:off x="7970837" y="2970244"/>
              <a:ext cx="927253" cy="1143000"/>
              <a:chOff x="7666037" y="2095818"/>
              <a:chExt cx="927253" cy="114300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6037" y="2095818"/>
                <a:ext cx="927253" cy="1143000"/>
              </a:xfrm>
              <a:prstGeom prst="rect">
                <a:avLst/>
              </a:prstGeom>
            </p:spPr>
          </p:pic>
          <p:sp>
            <p:nvSpPr>
              <p:cNvPr id="59" name="Flowchart: Decision 58"/>
              <p:cNvSpPr/>
              <p:nvPr/>
            </p:nvSpPr>
            <p:spPr bwMode="auto">
              <a:xfrm>
                <a:off x="7818437" y="2095818"/>
                <a:ext cx="609600" cy="533400"/>
              </a:xfrm>
              <a:prstGeom prst="flowChartDecisio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3</a:t>
                </a: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b="1" dirty="0" smtClean="0">
                    <a:solidFill>
                      <a:schemeClr val="tx1">
                        <a:lumMod val="50000"/>
                      </a:schemeClr>
                    </a:solidFill>
                    <a:ea typeface="Segoe UI" pitchFamily="34" charset="0"/>
                    <a:cs typeface="Segoe UI" pitchFamily="34" charset="0"/>
                  </a:rPr>
                  <a:t>(</a:t>
                </a:r>
                <a:r>
                  <a:rPr lang="en-US" sz="1400" b="1" dirty="0" smtClean="0">
                    <a:solidFill>
                      <a:schemeClr val="tx1">
                        <a:lumMod val="50000"/>
                      </a:schemeClr>
                    </a:solidFill>
                    <a:ea typeface="Segoe UI" pitchFamily="34" charset="0"/>
                    <a:cs typeface="Segoe UI" pitchFamily="34" charset="0"/>
                  </a:rPr>
                  <a:t>Readable</a:t>
                </a:r>
                <a:r>
                  <a:rPr lang="en-US" sz="1200" b="1" dirty="0" smtClean="0">
                    <a:solidFill>
                      <a:schemeClr val="tx1">
                        <a:lumMod val="50000"/>
                      </a:schemeClr>
                    </a:solidFill>
                    <a:ea typeface="Segoe UI" pitchFamily="34" charset="0"/>
                    <a:cs typeface="Segoe UI" pitchFamily="34" charset="0"/>
                  </a:rPr>
                  <a:t>)</a:t>
                </a:r>
              </a:p>
            </p:txBody>
          </p:sp>
        </p:grpSp>
        <p:grpSp>
          <p:nvGrpSpPr>
            <p:cNvPr id="63" name="Group 62"/>
            <p:cNvGrpSpPr/>
            <p:nvPr/>
          </p:nvGrpSpPr>
          <p:grpSpPr>
            <a:xfrm>
              <a:off x="6142037" y="2970244"/>
              <a:ext cx="927253" cy="1157604"/>
              <a:chOff x="7666037" y="2187258"/>
              <a:chExt cx="927253" cy="1157604"/>
            </a:xfrm>
          </p:grpSpPr>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6037" y="2201862"/>
                <a:ext cx="927253" cy="1143000"/>
              </a:xfrm>
              <a:prstGeom prst="rect">
                <a:avLst/>
              </a:prstGeom>
            </p:spPr>
          </p:pic>
          <p:sp>
            <p:nvSpPr>
              <p:cNvPr id="65" name="Flowchart: Decision 64"/>
              <p:cNvSpPr/>
              <p:nvPr/>
            </p:nvSpPr>
            <p:spPr bwMode="auto">
              <a:xfrm>
                <a:off x="7818437" y="2187258"/>
                <a:ext cx="609600" cy="533400"/>
              </a:xfrm>
              <a:prstGeom prst="flowChartDecision">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2</a:t>
                </a: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en-US" sz="12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1200" b="1" dirty="0" smtClean="0">
                    <a:solidFill>
                      <a:schemeClr val="tx1">
                        <a:lumMod val="50000"/>
                      </a:schemeClr>
                    </a:solidFill>
                    <a:ea typeface="Segoe UI" pitchFamily="34" charset="0"/>
                    <a:cs typeface="Segoe UI" pitchFamily="34" charset="0"/>
                  </a:rPr>
                  <a:t>(</a:t>
                </a:r>
                <a:r>
                  <a:rPr lang="en-US" sz="1400" b="1" dirty="0" smtClean="0">
                    <a:solidFill>
                      <a:schemeClr val="tx1">
                        <a:lumMod val="50000"/>
                      </a:schemeClr>
                    </a:solidFill>
                    <a:ea typeface="Segoe UI" pitchFamily="34" charset="0"/>
                    <a:cs typeface="Segoe UI" pitchFamily="34" charset="0"/>
                  </a:rPr>
                  <a:t>Readable</a:t>
                </a:r>
                <a:r>
                  <a:rPr lang="en-US" sz="1200" b="1" dirty="0" smtClean="0">
                    <a:solidFill>
                      <a:schemeClr val="tx1">
                        <a:lumMod val="50000"/>
                      </a:schemeClr>
                    </a:solidFill>
                    <a:ea typeface="Segoe UI" pitchFamily="34" charset="0"/>
                    <a:cs typeface="Segoe UI" pitchFamily="34" charset="0"/>
                  </a:rPr>
                  <a:t>)</a:t>
                </a:r>
              </a:p>
            </p:txBody>
          </p:sp>
        </p:grpSp>
        <p:grpSp>
          <p:nvGrpSpPr>
            <p:cNvPr id="70" name="Group 69"/>
            <p:cNvGrpSpPr/>
            <p:nvPr/>
          </p:nvGrpSpPr>
          <p:grpSpPr>
            <a:xfrm>
              <a:off x="2332037" y="2582862"/>
              <a:ext cx="2133600" cy="1447800"/>
              <a:chOff x="9418637" y="296862"/>
              <a:chExt cx="2560320" cy="2286000"/>
            </a:xfrm>
          </p:grpSpPr>
          <p:sp>
            <p:nvSpPr>
              <p:cNvPr id="17" name="Circular Arrow 16"/>
              <p:cNvSpPr/>
              <p:nvPr/>
            </p:nvSpPr>
            <p:spPr bwMode="auto">
              <a:xfrm flipH="1">
                <a:off x="9418637" y="296862"/>
                <a:ext cx="2560320" cy="2103120"/>
              </a:xfrm>
              <a:prstGeom prst="circularArrow">
                <a:avLst>
                  <a:gd name="adj1" fmla="val 2416"/>
                  <a:gd name="adj2" fmla="val 1021942"/>
                  <a:gd name="adj3" fmla="val 20555317"/>
                  <a:gd name="adj4" fmla="val 11196389"/>
                  <a:gd name="adj5" fmla="val 12171"/>
                </a:avLst>
              </a:prstGeom>
              <a:solidFill>
                <a:srgbClr val="FFB011"/>
              </a:solidFill>
              <a:ln w="57150">
                <a:solidFill>
                  <a:srgbClr val="FFB01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Circular Arrow 17"/>
              <p:cNvSpPr/>
              <p:nvPr/>
            </p:nvSpPr>
            <p:spPr bwMode="auto">
              <a:xfrm>
                <a:off x="9418637" y="296862"/>
                <a:ext cx="2560320" cy="2286000"/>
              </a:xfrm>
              <a:prstGeom prst="circularArrow">
                <a:avLst>
                  <a:gd name="adj1" fmla="val 2416"/>
                  <a:gd name="adj2" fmla="val 890740"/>
                  <a:gd name="adj3" fmla="val 20555317"/>
                  <a:gd name="adj4" fmla="val 11375693"/>
                  <a:gd name="adj5" fmla="val 12171"/>
                </a:avLst>
              </a:prstGeom>
              <a:solidFill>
                <a:srgbClr val="FFCC66"/>
              </a:solidFill>
              <a:ln w="57150">
                <a:solidFill>
                  <a:srgbClr val="FFCC6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1" name="TextBox 10"/>
            <p:cNvSpPr txBox="1"/>
            <p:nvPr/>
          </p:nvSpPr>
          <p:spPr>
            <a:xfrm>
              <a:off x="2713037" y="6079204"/>
              <a:ext cx="990600" cy="694658"/>
            </a:xfrm>
            <a:prstGeom prst="flowChartAlternateProcess">
              <a:avLst/>
            </a:prstGeom>
            <a:solidFill>
              <a:schemeClr val="bg1"/>
            </a:solidFill>
            <a:ln>
              <a:solidFill>
                <a:srgbClr val="008000"/>
              </a:solidFill>
            </a:ln>
          </p:spPr>
          <p:txBody>
            <a:bodyPr wrap="square" lIns="91440" tIns="91440" rIns="91440" bIns="91440" rtlCol="0">
              <a:spAutoFit/>
            </a:bodyPr>
            <a:lstStyle/>
            <a:p>
              <a:pPr algn="ctr">
                <a:lnSpc>
                  <a:spcPct val="90000"/>
                </a:lnSpc>
                <a:spcAft>
                  <a:spcPts val="600"/>
                </a:spcAft>
              </a:pPr>
              <a:r>
                <a:rPr lang="en-US" sz="1600" b="1" dirty="0" smtClean="0">
                  <a:solidFill>
                    <a:srgbClr val="008000"/>
                  </a:solidFill>
                  <a:latin typeface="+mj-lt"/>
                </a:rPr>
                <a:t>OLTP App</a:t>
              </a:r>
            </a:p>
          </p:txBody>
        </p:sp>
      </p:grpSp>
    </p:spTree>
    <p:extLst>
      <p:ext uri="{BB962C8B-B14F-4D97-AF65-F5344CB8AC3E}">
        <p14:creationId xmlns:p14="http://schemas.microsoft.com/office/powerpoint/2010/main" val="746361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dirty="0" smtClean="0"/>
              <a:t>Connectivity Best Practices</a:t>
            </a:r>
            <a:endParaRPr lang="en-US" dirty="0"/>
          </a:p>
        </p:txBody>
      </p:sp>
      <p:sp>
        <p:nvSpPr>
          <p:cNvPr id="4" name="Text Placeholder 3"/>
          <p:cNvSpPr>
            <a:spLocks noGrp="1"/>
          </p:cNvSpPr>
          <p:nvPr>
            <p:ph type="body" sz="quarter" idx="10"/>
          </p:nvPr>
        </p:nvSpPr>
        <p:spPr>
          <a:xfrm>
            <a:off x="241573" y="1265014"/>
            <a:ext cx="11887200" cy="4573560"/>
          </a:xfrm>
        </p:spPr>
        <p:txBody>
          <a:bodyPr/>
          <a:lstStyle/>
          <a:p>
            <a:pPr marL="571500" indent="-571500">
              <a:buFont typeface="Arial" panose="020B0604020202020204" pitchFamily="34" charset="0"/>
              <a:buChar char="•"/>
            </a:pPr>
            <a:r>
              <a:rPr lang="en-US" sz="2800" dirty="0" smtClean="0"/>
              <a:t>Remove unused endpoints on the virtual machine</a:t>
            </a:r>
          </a:p>
          <a:p>
            <a:pPr marL="571500" indent="-571500">
              <a:buFont typeface="Arial" panose="020B0604020202020204" pitchFamily="34" charset="0"/>
              <a:buChar char="•"/>
            </a:pPr>
            <a:r>
              <a:rPr lang="en-US" sz="2800" dirty="0" smtClean="0"/>
              <a:t>Use endpoint </a:t>
            </a:r>
            <a:r>
              <a:rPr lang="en-US" sz="2800" dirty="0" err="1" smtClean="0"/>
              <a:t>ACLing</a:t>
            </a:r>
            <a:r>
              <a:rPr lang="en-US" sz="2800" dirty="0" smtClean="0"/>
              <a:t> to control connections</a:t>
            </a:r>
          </a:p>
          <a:p>
            <a:pPr marL="571500" indent="-571500">
              <a:buFont typeface="Arial" panose="020B0604020202020204" pitchFamily="34" charset="0"/>
              <a:buChar char="•"/>
            </a:pPr>
            <a:r>
              <a:rPr lang="en-US" sz="2800" dirty="0" smtClean="0"/>
              <a:t>Don’t disable Windows Firewall</a:t>
            </a:r>
          </a:p>
          <a:p>
            <a:pPr marL="571500" indent="-571500">
              <a:buFont typeface="Arial" panose="020B0604020202020204" pitchFamily="34" charset="0"/>
              <a:buChar char="•"/>
            </a:pPr>
            <a:r>
              <a:rPr lang="en-US" sz="2800" dirty="0" smtClean="0"/>
              <a:t>If clients are in Azure, host them in same VNET as SQL Server</a:t>
            </a:r>
          </a:p>
          <a:p>
            <a:pPr marL="571500" indent="-571500">
              <a:buFont typeface="Arial" panose="020B0604020202020204" pitchFamily="34" charset="0"/>
              <a:buChar char="•"/>
            </a:pPr>
            <a:r>
              <a:rPr lang="en-US" sz="2800" dirty="0" smtClean="0"/>
              <a:t>If Windows Authentication is needed: </a:t>
            </a:r>
          </a:p>
          <a:p>
            <a:pPr marL="800057" lvl="2" indent="-571500">
              <a:buFont typeface="Arial" panose="020B0604020202020204" pitchFamily="34" charset="0"/>
              <a:buChar char="•"/>
            </a:pPr>
            <a:r>
              <a:rPr lang="en-US" dirty="0" smtClean="0"/>
              <a:t>Configure Domain Controller</a:t>
            </a:r>
          </a:p>
          <a:p>
            <a:pPr marL="800057" lvl="2" indent="-571500">
              <a:buFont typeface="Arial" panose="020B0604020202020204" pitchFamily="34" charset="0"/>
              <a:buChar char="•"/>
            </a:pPr>
            <a:r>
              <a:rPr lang="en-US" dirty="0" smtClean="0"/>
              <a:t>Configure a VPN tunnel from on-premises and use on-premises Domain Controller</a:t>
            </a:r>
          </a:p>
          <a:p>
            <a:pPr marL="571500" indent="-571500">
              <a:buFont typeface="Arial" panose="020B0604020202020204" pitchFamily="34" charset="0"/>
              <a:buChar char="•"/>
            </a:pPr>
            <a:r>
              <a:rPr lang="en-US" sz="2800" dirty="0" smtClean="0"/>
              <a:t>If not, use SQL authentication</a:t>
            </a:r>
          </a:p>
        </p:txBody>
      </p:sp>
    </p:spTree>
    <p:extLst>
      <p:ext uri="{BB962C8B-B14F-4D97-AF65-F5344CB8AC3E}">
        <p14:creationId xmlns:p14="http://schemas.microsoft.com/office/powerpoint/2010/main" val="428519622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192462"/>
            <a:ext cx="11704320" cy="822960"/>
          </a:xfrm>
        </p:spPr>
        <p:txBody>
          <a:bodyPr/>
          <a:lstStyle/>
          <a:p>
            <a:r>
              <a:rPr lang="en-US" dirty="0" smtClean="0"/>
              <a:t>Hands-on Lab</a:t>
            </a:r>
            <a:endParaRPr lang="en-US" dirty="0"/>
          </a:p>
        </p:txBody>
      </p:sp>
      <p:sp>
        <p:nvSpPr>
          <p:cNvPr id="3" name="Text Placeholder 2"/>
          <p:cNvSpPr>
            <a:spLocks noGrp="1"/>
          </p:cNvSpPr>
          <p:nvPr>
            <p:ph type="body" sz="quarter" idx="10"/>
          </p:nvPr>
        </p:nvSpPr>
        <p:spPr>
          <a:xfrm>
            <a:off x="503237" y="4014311"/>
            <a:ext cx="11704320" cy="822960"/>
          </a:xfrm>
        </p:spPr>
        <p:txBody>
          <a:bodyPr/>
          <a:lstStyle/>
          <a:p>
            <a:r>
              <a:rPr lang="en-US" sz="2400" dirty="0" smtClean="0"/>
              <a:t>Implement HA/DR with SQL Server in Azure VMs</a:t>
            </a:r>
            <a:endParaRPr lang="en-US" sz="2400" dirty="0"/>
          </a:p>
        </p:txBody>
      </p:sp>
      <p:sp>
        <p:nvSpPr>
          <p:cNvPr id="8" name="Rectangle 6"/>
          <p:cNvSpPr>
            <a:spLocks noChangeArrowheads="1"/>
          </p:cNvSpPr>
          <p:nvPr/>
        </p:nvSpPr>
        <p:spPr bwMode="auto">
          <a:xfrm>
            <a:off x="2179638" y="-1270000"/>
            <a:ext cx="4340225" cy="561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9" name="Group 128"/>
          <p:cNvGrpSpPr/>
          <p:nvPr/>
        </p:nvGrpSpPr>
        <p:grpSpPr>
          <a:xfrm>
            <a:off x="7894637" y="1135062"/>
            <a:ext cx="3741738" cy="4765674"/>
            <a:chOff x="7143749" y="1444070"/>
            <a:chExt cx="3741738" cy="4765674"/>
          </a:xfrm>
        </p:grpSpPr>
        <p:sp>
          <p:nvSpPr>
            <p:cNvPr id="89" name="Freeform 87"/>
            <p:cNvSpPr>
              <a:spLocks/>
            </p:cNvSpPr>
            <p:nvPr/>
          </p:nvSpPr>
          <p:spPr bwMode="auto">
            <a:xfrm>
              <a:off x="7143749" y="1444070"/>
              <a:ext cx="3741738" cy="3746500"/>
            </a:xfrm>
            <a:custGeom>
              <a:avLst/>
              <a:gdLst>
                <a:gd name="T0" fmla="*/ 2495 w 2495"/>
                <a:gd name="T1" fmla="*/ 1247 h 2495"/>
                <a:gd name="T2" fmla="*/ 2495 w 2495"/>
                <a:gd name="T3" fmla="*/ 1247 h 2495"/>
                <a:gd name="T4" fmla="*/ 1247 w 2495"/>
                <a:gd name="T5" fmla="*/ 2495 h 2495"/>
                <a:gd name="T6" fmla="*/ 0 w 2495"/>
                <a:gd name="T7" fmla="*/ 1247 h 2495"/>
                <a:gd name="T8" fmla="*/ 1247 w 2495"/>
                <a:gd name="T9" fmla="*/ 0 h 2495"/>
                <a:gd name="T10" fmla="*/ 2495 w 2495"/>
                <a:gd name="T11" fmla="*/ 1247 h 2495"/>
              </a:gdLst>
              <a:ahLst/>
              <a:cxnLst>
                <a:cxn ang="0">
                  <a:pos x="T0" y="T1"/>
                </a:cxn>
                <a:cxn ang="0">
                  <a:pos x="T2" y="T3"/>
                </a:cxn>
                <a:cxn ang="0">
                  <a:pos x="T4" y="T5"/>
                </a:cxn>
                <a:cxn ang="0">
                  <a:pos x="T6" y="T7"/>
                </a:cxn>
                <a:cxn ang="0">
                  <a:pos x="T8" y="T9"/>
                </a:cxn>
                <a:cxn ang="0">
                  <a:pos x="T10" y="T11"/>
                </a:cxn>
              </a:cxnLst>
              <a:rect l="0" t="0" r="r" b="b"/>
              <a:pathLst>
                <a:path w="2495" h="2495">
                  <a:moveTo>
                    <a:pt x="2495" y="1247"/>
                  </a:moveTo>
                  <a:lnTo>
                    <a:pt x="2495" y="1247"/>
                  </a:lnTo>
                  <a:cubicBezTo>
                    <a:pt x="2495" y="1937"/>
                    <a:pt x="1937" y="2495"/>
                    <a:pt x="1247" y="2495"/>
                  </a:cubicBezTo>
                  <a:cubicBezTo>
                    <a:pt x="558" y="2495"/>
                    <a:pt x="0" y="1937"/>
                    <a:pt x="0" y="1247"/>
                  </a:cubicBezTo>
                  <a:cubicBezTo>
                    <a:pt x="0" y="558"/>
                    <a:pt x="558" y="0"/>
                    <a:pt x="1247" y="0"/>
                  </a:cubicBezTo>
                  <a:cubicBezTo>
                    <a:pt x="1937" y="0"/>
                    <a:pt x="2495" y="558"/>
                    <a:pt x="2495" y="1247"/>
                  </a:cubicBezTo>
                  <a:close/>
                </a:path>
              </a:pathLst>
            </a:custGeom>
            <a:solidFill>
              <a:srgbClr val="00B0F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7751762" y="6028769"/>
              <a:ext cx="2525713" cy="18097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8248650" y="5058807"/>
              <a:ext cx="1804988" cy="1112838"/>
            </a:xfrm>
            <a:custGeom>
              <a:avLst/>
              <a:gdLst>
                <a:gd name="T0" fmla="*/ 0 w 1137"/>
                <a:gd name="T1" fmla="*/ 0 h 701"/>
                <a:gd name="T2" fmla="*/ 0 w 1137"/>
                <a:gd name="T3" fmla="*/ 87 h 701"/>
                <a:gd name="T4" fmla="*/ 676 w 1137"/>
                <a:gd name="T5" fmla="*/ 87 h 701"/>
                <a:gd name="T6" fmla="*/ 676 w 1137"/>
                <a:gd name="T7" fmla="*/ 701 h 701"/>
                <a:gd name="T8" fmla="*/ 752 w 1137"/>
                <a:gd name="T9" fmla="*/ 701 h 701"/>
                <a:gd name="T10" fmla="*/ 752 w 1137"/>
                <a:gd name="T11" fmla="*/ 87 h 701"/>
                <a:gd name="T12" fmla="*/ 1061 w 1137"/>
                <a:gd name="T13" fmla="*/ 87 h 701"/>
                <a:gd name="T14" fmla="*/ 1061 w 1137"/>
                <a:gd name="T15" fmla="*/ 701 h 701"/>
                <a:gd name="T16" fmla="*/ 1137 w 1137"/>
                <a:gd name="T17" fmla="*/ 701 h 701"/>
                <a:gd name="T18" fmla="*/ 1137 w 1137"/>
                <a:gd name="T19" fmla="*/ 87 h 701"/>
                <a:gd name="T20" fmla="*/ 1137 w 1137"/>
                <a:gd name="T21" fmla="*/ 81 h 701"/>
                <a:gd name="T22" fmla="*/ 1137 w 1137"/>
                <a:gd name="T23" fmla="*/ 0 h 701"/>
                <a:gd name="T24" fmla="*/ 0 w 1137"/>
                <a:gd name="T2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7" h="701">
                  <a:moveTo>
                    <a:pt x="0" y="0"/>
                  </a:moveTo>
                  <a:lnTo>
                    <a:pt x="0" y="87"/>
                  </a:lnTo>
                  <a:lnTo>
                    <a:pt x="676" y="87"/>
                  </a:lnTo>
                  <a:lnTo>
                    <a:pt x="676" y="701"/>
                  </a:lnTo>
                  <a:lnTo>
                    <a:pt x="752" y="701"/>
                  </a:lnTo>
                  <a:lnTo>
                    <a:pt x="752" y="87"/>
                  </a:lnTo>
                  <a:lnTo>
                    <a:pt x="1061" y="87"/>
                  </a:lnTo>
                  <a:lnTo>
                    <a:pt x="1061" y="701"/>
                  </a:lnTo>
                  <a:lnTo>
                    <a:pt x="1137" y="701"/>
                  </a:lnTo>
                  <a:lnTo>
                    <a:pt x="1137" y="87"/>
                  </a:lnTo>
                  <a:lnTo>
                    <a:pt x="1137" y="81"/>
                  </a:lnTo>
                  <a:lnTo>
                    <a:pt x="113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auto">
            <a:xfrm>
              <a:off x="9382125" y="5058807"/>
              <a:ext cx="671513" cy="1112838"/>
            </a:xfrm>
            <a:custGeom>
              <a:avLst/>
              <a:gdLst>
                <a:gd name="T0" fmla="*/ 423 w 423"/>
                <a:gd name="T1" fmla="*/ 0 h 701"/>
                <a:gd name="T2" fmla="*/ 0 w 423"/>
                <a:gd name="T3" fmla="*/ 0 h 701"/>
                <a:gd name="T4" fmla="*/ 0 w 423"/>
                <a:gd name="T5" fmla="*/ 78 h 701"/>
                <a:gd name="T6" fmla="*/ 0 w 423"/>
                <a:gd name="T7" fmla="*/ 87 h 701"/>
                <a:gd name="T8" fmla="*/ 0 w 423"/>
                <a:gd name="T9" fmla="*/ 701 h 701"/>
                <a:gd name="T10" fmla="*/ 38 w 423"/>
                <a:gd name="T11" fmla="*/ 701 h 701"/>
                <a:gd name="T12" fmla="*/ 38 w 423"/>
                <a:gd name="T13" fmla="*/ 611 h 701"/>
                <a:gd name="T14" fmla="*/ 38 w 423"/>
                <a:gd name="T15" fmla="*/ 87 h 701"/>
                <a:gd name="T16" fmla="*/ 385 w 423"/>
                <a:gd name="T17" fmla="*/ 87 h 701"/>
                <a:gd name="T18" fmla="*/ 385 w 423"/>
                <a:gd name="T19" fmla="*/ 701 h 701"/>
                <a:gd name="T20" fmla="*/ 423 w 423"/>
                <a:gd name="T21" fmla="*/ 701 h 701"/>
                <a:gd name="T22" fmla="*/ 423 w 423"/>
                <a:gd name="T23" fmla="*/ 611 h 701"/>
                <a:gd name="T24" fmla="*/ 423 w 423"/>
                <a:gd name="T25" fmla="*/ 87 h 701"/>
                <a:gd name="T26" fmla="*/ 423 w 423"/>
                <a:gd name="T27" fmla="*/ 81 h 701"/>
                <a:gd name="T28" fmla="*/ 423 w 423"/>
                <a:gd name="T29"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3" h="701">
                  <a:moveTo>
                    <a:pt x="423" y="0"/>
                  </a:moveTo>
                  <a:lnTo>
                    <a:pt x="0" y="0"/>
                  </a:lnTo>
                  <a:lnTo>
                    <a:pt x="0" y="78"/>
                  </a:lnTo>
                  <a:lnTo>
                    <a:pt x="0" y="87"/>
                  </a:lnTo>
                  <a:lnTo>
                    <a:pt x="0" y="701"/>
                  </a:lnTo>
                  <a:lnTo>
                    <a:pt x="38" y="701"/>
                  </a:lnTo>
                  <a:lnTo>
                    <a:pt x="38" y="611"/>
                  </a:lnTo>
                  <a:lnTo>
                    <a:pt x="38" y="87"/>
                  </a:lnTo>
                  <a:lnTo>
                    <a:pt x="385" y="87"/>
                  </a:lnTo>
                  <a:lnTo>
                    <a:pt x="385" y="701"/>
                  </a:lnTo>
                  <a:lnTo>
                    <a:pt x="423" y="701"/>
                  </a:lnTo>
                  <a:lnTo>
                    <a:pt x="423" y="611"/>
                  </a:lnTo>
                  <a:lnTo>
                    <a:pt x="423" y="87"/>
                  </a:lnTo>
                  <a:lnTo>
                    <a:pt x="423" y="81"/>
                  </a:lnTo>
                  <a:lnTo>
                    <a:pt x="4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504237" y="1820862"/>
              <a:ext cx="1420813" cy="85407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8721725" y="4131707"/>
              <a:ext cx="985838" cy="80327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8651875" y="4131707"/>
              <a:ext cx="1003300" cy="80327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5"/>
            <p:cNvSpPr>
              <a:spLocks noChangeArrowheads="1"/>
            </p:cNvSpPr>
            <p:nvPr/>
          </p:nvSpPr>
          <p:spPr bwMode="auto">
            <a:xfrm>
              <a:off x="8702675" y="4180919"/>
              <a:ext cx="903288" cy="603250"/>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6"/>
            <p:cNvSpPr>
              <a:spLocks noChangeArrowheads="1"/>
            </p:cNvSpPr>
            <p:nvPr/>
          </p:nvSpPr>
          <p:spPr bwMode="auto">
            <a:xfrm>
              <a:off x="8702675" y="4180919"/>
              <a:ext cx="903288"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noEditPoints="1"/>
            </p:cNvSpPr>
            <p:nvPr/>
          </p:nvSpPr>
          <p:spPr bwMode="auto">
            <a:xfrm>
              <a:off x="8651875" y="4233307"/>
              <a:ext cx="1003300" cy="701675"/>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8702675" y="4263469"/>
              <a:ext cx="869950" cy="520700"/>
            </a:xfrm>
            <a:custGeom>
              <a:avLst/>
              <a:gdLst>
                <a:gd name="T0" fmla="*/ 0 w 548"/>
                <a:gd name="T1" fmla="*/ 0 h 328"/>
                <a:gd name="T2" fmla="*/ 0 w 548"/>
                <a:gd name="T3" fmla="*/ 53 h 328"/>
                <a:gd name="T4" fmla="*/ 86 w 548"/>
                <a:gd name="T5" fmla="*/ 53 h 328"/>
                <a:gd name="T6" fmla="*/ 86 w 548"/>
                <a:gd name="T7" fmla="*/ 325 h 328"/>
                <a:gd name="T8" fmla="*/ 91 w 548"/>
                <a:gd name="T9" fmla="*/ 328 h 328"/>
                <a:gd name="T10" fmla="*/ 548 w 548"/>
                <a:gd name="T11" fmla="*/ 328 h 328"/>
                <a:gd name="T12" fmla="*/ 0 w 548"/>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548" h="328">
                  <a:moveTo>
                    <a:pt x="0" y="0"/>
                  </a:moveTo>
                  <a:lnTo>
                    <a:pt x="0" y="53"/>
                  </a:lnTo>
                  <a:lnTo>
                    <a:pt x="86" y="53"/>
                  </a:lnTo>
                  <a:lnTo>
                    <a:pt x="86" y="325"/>
                  </a:lnTo>
                  <a:lnTo>
                    <a:pt x="91" y="328"/>
                  </a:lnTo>
                  <a:lnTo>
                    <a:pt x="548" y="3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p:cNvSpPr>
              <a:spLocks/>
            </p:cNvSpPr>
            <p:nvPr/>
          </p:nvSpPr>
          <p:spPr bwMode="auto">
            <a:xfrm>
              <a:off x="8775700" y="4776232"/>
              <a:ext cx="171450" cy="161925"/>
            </a:xfrm>
            <a:custGeom>
              <a:avLst/>
              <a:gdLst>
                <a:gd name="T0" fmla="*/ 73 w 108"/>
                <a:gd name="T1" fmla="*/ 102 h 102"/>
                <a:gd name="T2" fmla="*/ 0 w 108"/>
                <a:gd name="T3" fmla="*/ 62 h 102"/>
                <a:gd name="T4" fmla="*/ 35 w 108"/>
                <a:gd name="T5" fmla="*/ 0 h 102"/>
                <a:gd name="T6" fmla="*/ 108 w 108"/>
                <a:gd name="T7" fmla="*/ 40 h 102"/>
                <a:gd name="T8" fmla="*/ 73 w 108"/>
                <a:gd name="T9" fmla="*/ 102 h 102"/>
              </a:gdLst>
              <a:ahLst/>
              <a:cxnLst>
                <a:cxn ang="0">
                  <a:pos x="T0" y="T1"/>
                </a:cxn>
                <a:cxn ang="0">
                  <a:pos x="T2" y="T3"/>
                </a:cxn>
                <a:cxn ang="0">
                  <a:pos x="T4" y="T5"/>
                </a:cxn>
                <a:cxn ang="0">
                  <a:pos x="T6" y="T7"/>
                </a:cxn>
                <a:cxn ang="0">
                  <a:pos x="T8" y="T9"/>
                </a:cxn>
              </a:cxnLst>
              <a:rect l="0" t="0" r="r" b="b"/>
              <a:pathLst>
                <a:path w="108" h="102">
                  <a:moveTo>
                    <a:pt x="73" y="102"/>
                  </a:moveTo>
                  <a:lnTo>
                    <a:pt x="0" y="62"/>
                  </a:lnTo>
                  <a:lnTo>
                    <a:pt x="35" y="0"/>
                  </a:lnTo>
                  <a:lnTo>
                    <a:pt x="108" y="40"/>
                  </a:lnTo>
                  <a:lnTo>
                    <a:pt x="73"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3"/>
            <p:cNvSpPr>
              <a:spLocks/>
            </p:cNvSpPr>
            <p:nvPr/>
          </p:nvSpPr>
          <p:spPr bwMode="auto">
            <a:xfrm>
              <a:off x="8839200" y="4779407"/>
              <a:ext cx="107950" cy="158750"/>
            </a:xfrm>
            <a:custGeom>
              <a:avLst/>
              <a:gdLst>
                <a:gd name="T0" fmla="*/ 0 w 68"/>
                <a:gd name="T1" fmla="*/ 0 h 100"/>
                <a:gd name="T2" fmla="*/ 0 w 68"/>
                <a:gd name="T3" fmla="*/ 82 h 100"/>
                <a:gd name="T4" fmla="*/ 33 w 68"/>
                <a:gd name="T5" fmla="*/ 100 h 100"/>
                <a:gd name="T6" fmla="*/ 68 w 68"/>
                <a:gd name="T7" fmla="*/ 38 h 100"/>
                <a:gd name="T8" fmla="*/ 0 w 68"/>
                <a:gd name="T9" fmla="*/ 0 h 100"/>
              </a:gdLst>
              <a:ahLst/>
              <a:cxnLst>
                <a:cxn ang="0">
                  <a:pos x="T0" y="T1"/>
                </a:cxn>
                <a:cxn ang="0">
                  <a:pos x="T2" y="T3"/>
                </a:cxn>
                <a:cxn ang="0">
                  <a:pos x="T4" y="T5"/>
                </a:cxn>
                <a:cxn ang="0">
                  <a:pos x="T6" y="T7"/>
                </a:cxn>
                <a:cxn ang="0">
                  <a:pos x="T8" y="T9"/>
                </a:cxn>
              </a:cxnLst>
              <a:rect l="0" t="0" r="r" b="b"/>
              <a:pathLst>
                <a:path w="68" h="100">
                  <a:moveTo>
                    <a:pt x="0" y="0"/>
                  </a:moveTo>
                  <a:lnTo>
                    <a:pt x="0" y="82"/>
                  </a:lnTo>
                  <a:lnTo>
                    <a:pt x="33" y="100"/>
                  </a:lnTo>
                  <a:lnTo>
                    <a:pt x="68" y="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4"/>
            <p:cNvSpPr>
              <a:spLocks noChangeArrowheads="1"/>
            </p:cNvSpPr>
            <p:nvPr/>
          </p:nvSpPr>
          <p:spPr bwMode="auto">
            <a:xfrm>
              <a:off x="8137525" y="4347607"/>
              <a:ext cx="701675" cy="1023938"/>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5"/>
            <p:cNvSpPr>
              <a:spLocks noChangeArrowheads="1"/>
            </p:cNvSpPr>
            <p:nvPr/>
          </p:nvSpPr>
          <p:spPr bwMode="auto">
            <a:xfrm>
              <a:off x="8137525" y="4347607"/>
              <a:ext cx="7016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6"/>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close/>
                  <a:moveTo>
                    <a:pt x="0" y="0"/>
                  </a:moveTo>
                  <a:lnTo>
                    <a:pt x="0" y="88"/>
                  </a:lnTo>
                  <a:lnTo>
                    <a:pt x="112" y="88"/>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7"/>
            <p:cNvSpPr>
              <a:spLocks noEditPoints="1"/>
            </p:cNvSpPr>
            <p:nvPr/>
          </p:nvSpPr>
          <p:spPr bwMode="auto">
            <a:xfrm>
              <a:off x="8137525" y="4433332"/>
              <a:ext cx="701675" cy="817563"/>
            </a:xfrm>
            <a:custGeom>
              <a:avLst/>
              <a:gdLst>
                <a:gd name="T0" fmla="*/ 397 w 442"/>
                <a:gd name="T1" fmla="*/ 313 h 515"/>
                <a:gd name="T2" fmla="*/ 397 w 442"/>
                <a:gd name="T3" fmla="*/ 515 h 515"/>
                <a:gd name="T4" fmla="*/ 442 w 442"/>
                <a:gd name="T5" fmla="*/ 515 h 515"/>
                <a:gd name="T6" fmla="*/ 442 w 442"/>
                <a:gd name="T7" fmla="*/ 481 h 515"/>
                <a:gd name="T8" fmla="*/ 442 w 442"/>
                <a:gd name="T9" fmla="*/ 394 h 515"/>
                <a:gd name="T10" fmla="*/ 442 w 442"/>
                <a:gd name="T11" fmla="*/ 348 h 515"/>
                <a:gd name="T12" fmla="*/ 397 w 442"/>
                <a:gd name="T13" fmla="*/ 313 h 515"/>
                <a:gd name="T14" fmla="*/ 0 w 442"/>
                <a:gd name="T15" fmla="*/ 0 h 515"/>
                <a:gd name="T16" fmla="*/ 0 w 442"/>
                <a:gd name="T17" fmla="*/ 88 h 515"/>
                <a:gd name="T18" fmla="*/ 112 w 442"/>
                <a:gd name="T19" fmla="*/ 88 h 515"/>
                <a:gd name="T20" fmla="*/ 0 w 442"/>
                <a:gd name="T21"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2" h="515">
                  <a:moveTo>
                    <a:pt x="397" y="313"/>
                  </a:moveTo>
                  <a:lnTo>
                    <a:pt x="397" y="515"/>
                  </a:lnTo>
                  <a:lnTo>
                    <a:pt x="442" y="515"/>
                  </a:lnTo>
                  <a:lnTo>
                    <a:pt x="442" y="481"/>
                  </a:lnTo>
                  <a:lnTo>
                    <a:pt x="442" y="394"/>
                  </a:lnTo>
                  <a:lnTo>
                    <a:pt x="442" y="348"/>
                  </a:lnTo>
                  <a:lnTo>
                    <a:pt x="397" y="313"/>
                  </a:lnTo>
                  <a:moveTo>
                    <a:pt x="0" y="0"/>
                  </a:moveTo>
                  <a:lnTo>
                    <a:pt x="0" y="88"/>
                  </a:lnTo>
                  <a:lnTo>
                    <a:pt x="112" y="8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8"/>
            <p:cNvSpPr>
              <a:spLocks/>
            </p:cNvSpPr>
            <p:nvPr/>
          </p:nvSpPr>
          <p:spPr bwMode="auto">
            <a:xfrm>
              <a:off x="8437562" y="4149169"/>
              <a:ext cx="163513" cy="198438"/>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9"/>
            <p:cNvSpPr>
              <a:spLocks noChangeArrowheads="1"/>
            </p:cNvSpPr>
            <p:nvPr/>
          </p:nvSpPr>
          <p:spPr bwMode="auto">
            <a:xfrm>
              <a:off x="8432800" y="3976132"/>
              <a:ext cx="23813"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0"/>
            <p:cNvSpPr>
              <a:spLocks/>
            </p:cNvSpPr>
            <p:nvPr/>
          </p:nvSpPr>
          <p:spPr bwMode="auto">
            <a:xfrm>
              <a:off x="8402637" y="3839607"/>
              <a:ext cx="165100" cy="111125"/>
            </a:xfrm>
            <a:custGeom>
              <a:avLst/>
              <a:gdLst>
                <a:gd name="T0" fmla="*/ 0 w 104"/>
                <a:gd name="T1" fmla="*/ 42 h 70"/>
                <a:gd name="T2" fmla="*/ 86 w 104"/>
                <a:gd name="T3" fmla="*/ 0 h 70"/>
                <a:gd name="T4" fmla="*/ 104 w 104"/>
                <a:gd name="T5" fmla="*/ 70 h 70"/>
                <a:gd name="T6" fmla="*/ 0 w 104"/>
                <a:gd name="T7" fmla="*/ 42 h 70"/>
              </a:gdLst>
              <a:ahLst/>
              <a:cxnLst>
                <a:cxn ang="0">
                  <a:pos x="T0" y="T1"/>
                </a:cxn>
                <a:cxn ang="0">
                  <a:pos x="T2" y="T3"/>
                </a:cxn>
                <a:cxn ang="0">
                  <a:pos x="T4" y="T5"/>
                </a:cxn>
                <a:cxn ang="0">
                  <a:pos x="T6" y="T7"/>
                </a:cxn>
              </a:cxnLst>
              <a:rect l="0" t="0" r="r" b="b"/>
              <a:pathLst>
                <a:path w="104" h="70">
                  <a:moveTo>
                    <a:pt x="0" y="42"/>
                  </a:moveTo>
                  <a:lnTo>
                    <a:pt x="86" y="0"/>
                  </a:lnTo>
                  <a:lnTo>
                    <a:pt x="104" y="70"/>
                  </a:lnTo>
                  <a:lnTo>
                    <a:pt x="0" y="42"/>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1"/>
            <p:cNvSpPr>
              <a:spLocks/>
            </p:cNvSpPr>
            <p:nvPr/>
          </p:nvSpPr>
          <p:spPr bwMode="auto">
            <a:xfrm>
              <a:off x="8286750" y="3906282"/>
              <a:ext cx="412750" cy="2984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2"/>
            <p:cNvSpPr>
              <a:spLocks noChangeArrowheads="1"/>
            </p:cNvSpPr>
            <p:nvPr/>
          </p:nvSpPr>
          <p:spPr bwMode="auto">
            <a:xfrm>
              <a:off x="8432800" y="3976132"/>
              <a:ext cx="23813" cy="222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4"/>
            <p:cNvSpPr>
              <a:spLocks/>
            </p:cNvSpPr>
            <p:nvPr/>
          </p:nvSpPr>
          <p:spPr bwMode="auto">
            <a:xfrm>
              <a:off x="8691562" y="2587069"/>
              <a:ext cx="620713" cy="1901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5"/>
            <p:cNvSpPr>
              <a:spLocks/>
            </p:cNvSpPr>
            <p:nvPr/>
          </p:nvSpPr>
          <p:spPr bwMode="auto">
            <a:xfrm>
              <a:off x="9144000" y="2471182"/>
              <a:ext cx="120650" cy="125413"/>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6"/>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
            <p:cNvSpPr>
              <a:spLocks/>
            </p:cNvSpPr>
            <p:nvPr/>
          </p:nvSpPr>
          <p:spPr bwMode="auto">
            <a:xfrm>
              <a:off x="8539162" y="6004957"/>
              <a:ext cx="303213" cy="168275"/>
            </a:xfrm>
            <a:custGeom>
              <a:avLst/>
              <a:gdLst>
                <a:gd name="T0" fmla="*/ 191 w 191"/>
                <a:gd name="T1" fmla="*/ 82 h 106"/>
                <a:gd name="T2" fmla="*/ 108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08"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8"/>
            <p:cNvSpPr>
              <a:spLocks noChangeArrowheads="1"/>
            </p:cNvSpPr>
            <p:nvPr/>
          </p:nvSpPr>
          <p:spPr bwMode="auto">
            <a:xfrm>
              <a:off x="8928100" y="5279469"/>
              <a:ext cx="173038" cy="7254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39"/>
            <p:cNvSpPr>
              <a:spLocks noChangeArrowheads="1"/>
            </p:cNvSpPr>
            <p:nvPr/>
          </p:nvSpPr>
          <p:spPr bwMode="auto">
            <a:xfrm>
              <a:off x="8928100" y="5279469"/>
              <a:ext cx="173038"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
            <p:cNvSpPr>
              <a:spLocks noChangeArrowheads="1"/>
            </p:cNvSpPr>
            <p:nvPr/>
          </p:nvSpPr>
          <p:spPr bwMode="auto">
            <a:xfrm>
              <a:off x="8539162" y="5249307"/>
              <a:ext cx="169863" cy="7556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1"/>
            <p:cNvSpPr>
              <a:spLocks noChangeArrowheads="1"/>
            </p:cNvSpPr>
            <p:nvPr/>
          </p:nvSpPr>
          <p:spPr bwMode="auto">
            <a:xfrm>
              <a:off x="8539162" y="5249307"/>
              <a:ext cx="169863"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2"/>
            <p:cNvSpPr>
              <a:spLocks noChangeArrowheads="1"/>
            </p:cNvSpPr>
            <p:nvPr/>
          </p:nvSpPr>
          <p:spPr bwMode="auto">
            <a:xfrm>
              <a:off x="8359775" y="5250894"/>
              <a:ext cx="741363" cy="1698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3"/>
            <p:cNvSpPr>
              <a:spLocks noChangeArrowheads="1"/>
            </p:cNvSpPr>
            <p:nvPr/>
          </p:nvSpPr>
          <p:spPr bwMode="auto">
            <a:xfrm>
              <a:off x="8359775" y="5250894"/>
              <a:ext cx="741363"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
            <p:cNvSpPr>
              <a:spLocks/>
            </p:cNvSpPr>
            <p:nvPr/>
          </p:nvSpPr>
          <p:spPr bwMode="auto">
            <a:xfrm>
              <a:off x="8280400" y="2780744"/>
              <a:ext cx="428625" cy="257175"/>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5"/>
            <p:cNvSpPr>
              <a:spLocks/>
            </p:cNvSpPr>
            <p:nvPr/>
          </p:nvSpPr>
          <p:spPr bwMode="auto">
            <a:xfrm>
              <a:off x="9974262" y="1977469"/>
              <a:ext cx="373063" cy="2159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6"/>
            <p:cNvSpPr>
              <a:spLocks/>
            </p:cNvSpPr>
            <p:nvPr/>
          </p:nvSpPr>
          <p:spPr bwMode="auto">
            <a:xfrm>
              <a:off x="8890000" y="4839732"/>
              <a:ext cx="147638" cy="144463"/>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7"/>
            <p:cNvSpPr>
              <a:spLocks noChangeArrowheads="1"/>
            </p:cNvSpPr>
            <p:nvPr/>
          </p:nvSpPr>
          <p:spPr bwMode="auto">
            <a:xfrm>
              <a:off x="8074025" y="4573032"/>
              <a:ext cx="693738" cy="9540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48"/>
            <p:cNvSpPr>
              <a:spLocks noChangeArrowheads="1"/>
            </p:cNvSpPr>
            <p:nvPr/>
          </p:nvSpPr>
          <p:spPr bwMode="auto">
            <a:xfrm>
              <a:off x="8074025" y="4573032"/>
              <a:ext cx="69373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9"/>
            <p:cNvSpPr>
              <a:spLocks noChangeArrowheads="1"/>
            </p:cNvSpPr>
            <p:nvPr/>
          </p:nvSpPr>
          <p:spPr bwMode="auto">
            <a:xfrm>
              <a:off x="8074025" y="5431869"/>
              <a:ext cx="122238"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50"/>
            <p:cNvSpPr>
              <a:spLocks noChangeArrowheads="1"/>
            </p:cNvSpPr>
            <p:nvPr/>
          </p:nvSpPr>
          <p:spPr bwMode="auto">
            <a:xfrm>
              <a:off x="8074025" y="5431869"/>
              <a:ext cx="122238"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1"/>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2"/>
            <p:cNvSpPr>
              <a:spLocks/>
            </p:cNvSpPr>
            <p:nvPr/>
          </p:nvSpPr>
          <p:spPr bwMode="auto">
            <a:xfrm>
              <a:off x="8928100" y="6004957"/>
              <a:ext cx="303213" cy="168275"/>
            </a:xfrm>
            <a:custGeom>
              <a:avLst/>
              <a:gdLst>
                <a:gd name="T0" fmla="*/ 191 w 191"/>
                <a:gd name="T1" fmla="*/ 82 h 106"/>
                <a:gd name="T2" fmla="*/ 110 w 191"/>
                <a:gd name="T3" fmla="*/ 0 h 106"/>
                <a:gd name="T4" fmla="*/ 0 w 191"/>
                <a:gd name="T5" fmla="*/ 0 h 106"/>
                <a:gd name="T6" fmla="*/ 0 w 191"/>
                <a:gd name="T7" fmla="*/ 106 h 106"/>
                <a:gd name="T8" fmla="*/ 191 w 191"/>
                <a:gd name="T9" fmla="*/ 106 h 106"/>
                <a:gd name="T10" fmla="*/ 191 w 191"/>
                <a:gd name="T11" fmla="*/ 82 h 106"/>
              </a:gdLst>
              <a:ahLst/>
              <a:cxnLst>
                <a:cxn ang="0">
                  <a:pos x="T0" y="T1"/>
                </a:cxn>
                <a:cxn ang="0">
                  <a:pos x="T2" y="T3"/>
                </a:cxn>
                <a:cxn ang="0">
                  <a:pos x="T4" y="T5"/>
                </a:cxn>
                <a:cxn ang="0">
                  <a:pos x="T6" y="T7"/>
                </a:cxn>
                <a:cxn ang="0">
                  <a:pos x="T8" y="T9"/>
                </a:cxn>
                <a:cxn ang="0">
                  <a:pos x="T10" y="T11"/>
                </a:cxn>
              </a:cxnLst>
              <a:rect l="0" t="0" r="r" b="b"/>
              <a:pathLst>
                <a:path w="191" h="106">
                  <a:moveTo>
                    <a:pt x="191" y="82"/>
                  </a:moveTo>
                  <a:lnTo>
                    <a:pt x="110" y="0"/>
                  </a:lnTo>
                  <a:lnTo>
                    <a:pt x="0" y="0"/>
                  </a:lnTo>
                  <a:lnTo>
                    <a:pt x="0" y="106"/>
                  </a:lnTo>
                  <a:lnTo>
                    <a:pt x="191" y="106"/>
                  </a:lnTo>
                  <a:lnTo>
                    <a:pt x="191" y="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53"/>
            <p:cNvSpPr>
              <a:spLocks noChangeArrowheads="1"/>
            </p:cNvSpPr>
            <p:nvPr/>
          </p:nvSpPr>
          <p:spPr bwMode="auto">
            <a:xfrm>
              <a:off x="864711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4"/>
            <p:cNvSpPr>
              <a:spLocks noChangeArrowheads="1"/>
            </p:cNvSpPr>
            <p:nvPr/>
          </p:nvSpPr>
          <p:spPr bwMode="auto">
            <a:xfrm>
              <a:off x="864711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5"/>
            <p:cNvSpPr>
              <a:spLocks noChangeArrowheads="1"/>
            </p:cNvSpPr>
            <p:nvPr/>
          </p:nvSpPr>
          <p:spPr bwMode="auto">
            <a:xfrm>
              <a:off x="83486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6"/>
            <p:cNvSpPr>
              <a:spLocks noChangeArrowheads="1"/>
            </p:cNvSpPr>
            <p:nvPr/>
          </p:nvSpPr>
          <p:spPr bwMode="auto">
            <a:xfrm>
              <a:off x="83486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7"/>
            <p:cNvSpPr>
              <a:spLocks noChangeArrowheads="1"/>
            </p:cNvSpPr>
            <p:nvPr/>
          </p:nvSpPr>
          <p:spPr bwMode="auto">
            <a:xfrm>
              <a:off x="8920162" y="5431869"/>
              <a:ext cx="120650" cy="74136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58"/>
            <p:cNvSpPr>
              <a:spLocks noChangeArrowheads="1"/>
            </p:cNvSpPr>
            <p:nvPr/>
          </p:nvSpPr>
          <p:spPr bwMode="auto">
            <a:xfrm>
              <a:off x="8920162" y="5431869"/>
              <a:ext cx="120650"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59"/>
            <p:cNvSpPr>
              <a:spLocks noChangeArrowheads="1"/>
            </p:cNvSpPr>
            <p:nvPr/>
          </p:nvSpPr>
          <p:spPr bwMode="auto">
            <a:xfrm>
              <a:off x="8567737" y="5417582"/>
              <a:ext cx="473075" cy="1095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60"/>
            <p:cNvSpPr>
              <a:spLocks noChangeArrowheads="1"/>
            </p:cNvSpPr>
            <p:nvPr/>
          </p:nvSpPr>
          <p:spPr bwMode="auto">
            <a:xfrm>
              <a:off x="8567737" y="5417582"/>
              <a:ext cx="473075"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1"/>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2"/>
            <p:cNvSpPr>
              <a:spLocks/>
            </p:cNvSpPr>
            <p:nvPr/>
          </p:nvSpPr>
          <p:spPr bwMode="auto">
            <a:xfrm>
              <a:off x="8707437" y="4573032"/>
              <a:ext cx="60325" cy="844550"/>
            </a:xfrm>
            <a:custGeom>
              <a:avLst/>
              <a:gdLst>
                <a:gd name="T0" fmla="*/ 38 w 38"/>
                <a:gd name="T1" fmla="*/ 0 h 532"/>
                <a:gd name="T2" fmla="*/ 0 w 38"/>
                <a:gd name="T3" fmla="*/ 0 h 532"/>
                <a:gd name="T4" fmla="*/ 0 w 38"/>
                <a:gd name="T5" fmla="*/ 426 h 532"/>
                <a:gd name="T6" fmla="*/ 0 w 38"/>
                <a:gd name="T7" fmla="*/ 532 h 532"/>
                <a:gd name="T8" fmla="*/ 38 w 38"/>
                <a:gd name="T9" fmla="*/ 532 h 532"/>
                <a:gd name="T10" fmla="*/ 38 w 38"/>
                <a:gd name="T11" fmla="*/ 427 h 532"/>
                <a:gd name="T12" fmla="*/ 38 w 38"/>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38" h="532">
                  <a:moveTo>
                    <a:pt x="38" y="0"/>
                  </a:moveTo>
                  <a:lnTo>
                    <a:pt x="0" y="0"/>
                  </a:lnTo>
                  <a:lnTo>
                    <a:pt x="0" y="426"/>
                  </a:lnTo>
                  <a:lnTo>
                    <a:pt x="0" y="532"/>
                  </a:lnTo>
                  <a:lnTo>
                    <a:pt x="38" y="532"/>
                  </a:lnTo>
                  <a:lnTo>
                    <a:pt x="38" y="427"/>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3"/>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4"/>
            <p:cNvSpPr>
              <a:spLocks/>
            </p:cNvSpPr>
            <p:nvPr/>
          </p:nvSpPr>
          <p:spPr bwMode="auto">
            <a:xfrm>
              <a:off x="8707437" y="5527119"/>
              <a:ext cx="60325" cy="646113"/>
            </a:xfrm>
            <a:custGeom>
              <a:avLst/>
              <a:gdLst>
                <a:gd name="T0" fmla="*/ 38 w 38"/>
                <a:gd name="T1" fmla="*/ 0 h 407"/>
                <a:gd name="T2" fmla="*/ 0 w 38"/>
                <a:gd name="T3" fmla="*/ 0 h 407"/>
                <a:gd name="T4" fmla="*/ 0 w 38"/>
                <a:gd name="T5" fmla="*/ 407 h 407"/>
                <a:gd name="T6" fmla="*/ 38 w 38"/>
                <a:gd name="T7" fmla="*/ 407 h 407"/>
                <a:gd name="T8" fmla="*/ 38 w 38"/>
                <a:gd name="T9" fmla="*/ 337 h 407"/>
                <a:gd name="T10" fmla="*/ 38 w 38"/>
                <a:gd name="T11" fmla="*/ 316 h 407"/>
                <a:gd name="T12" fmla="*/ 38 w 38"/>
                <a:gd name="T13" fmla="*/ 0 h 407"/>
              </a:gdLst>
              <a:ahLst/>
              <a:cxnLst>
                <a:cxn ang="0">
                  <a:pos x="T0" y="T1"/>
                </a:cxn>
                <a:cxn ang="0">
                  <a:pos x="T2" y="T3"/>
                </a:cxn>
                <a:cxn ang="0">
                  <a:pos x="T4" y="T5"/>
                </a:cxn>
                <a:cxn ang="0">
                  <a:pos x="T6" y="T7"/>
                </a:cxn>
                <a:cxn ang="0">
                  <a:pos x="T8" y="T9"/>
                </a:cxn>
                <a:cxn ang="0">
                  <a:pos x="T10" y="T11"/>
                </a:cxn>
                <a:cxn ang="0">
                  <a:pos x="T12" y="T13"/>
                </a:cxn>
              </a:cxnLst>
              <a:rect l="0" t="0" r="r" b="b"/>
              <a:pathLst>
                <a:path w="38" h="407">
                  <a:moveTo>
                    <a:pt x="38" y="0"/>
                  </a:moveTo>
                  <a:lnTo>
                    <a:pt x="0" y="0"/>
                  </a:lnTo>
                  <a:lnTo>
                    <a:pt x="0" y="407"/>
                  </a:lnTo>
                  <a:lnTo>
                    <a:pt x="38" y="407"/>
                  </a:lnTo>
                  <a:lnTo>
                    <a:pt x="38" y="337"/>
                  </a:lnTo>
                  <a:lnTo>
                    <a:pt x="38" y="31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5"/>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6"/>
            <p:cNvSpPr>
              <a:spLocks/>
            </p:cNvSpPr>
            <p:nvPr/>
          </p:nvSpPr>
          <p:spPr bwMode="auto">
            <a:xfrm>
              <a:off x="8707437" y="5417582"/>
              <a:ext cx="60325" cy="109538"/>
            </a:xfrm>
            <a:custGeom>
              <a:avLst/>
              <a:gdLst>
                <a:gd name="T0" fmla="*/ 38 w 38"/>
                <a:gd name="T1" fmla="*/ 0 h 69"/>
                <a:gd name="T2" fmla="*/ 38 w 38"/>
                <a:gd name="T3" fmla="*/ 0 h 69"/>
                <a:gd name="T4" fmla="*/ 0 w 38"/>
                <a:gd name="T5" fmla="*/ 0 h 69"/>
                <a:gd name="T6" fmla="*/ 0 w 38"/>
                <a:gd name="T7" fmla="*/ 69 h 69"/>
                <a:gd name="T8" fmla="*/ 38 w 38"/>
                <a:gd name="T9" fmla="*/ 69 h 69"/>
                <a:gd name="T10" fmla="*/ 38 w 38"/>
                <a:gd name="T11" fmla="*/ 0 h 69"/>
              </a:gdLst>
              <a:ahLst/>
              <a:cxnLst>
                <a:cxn ang="0">
                  <a:pos x="T0" y="T1"/>
                </a:cxn>
                <a:cxn ang="0">
                  <a:pos x="T2" y="T3"/>
                </a:cxn>
                <a:cxn ang="0">
                  <a:pos x="T4" y="T5"/>
                </a:cxn>
                <a:cxn ang="0">
                  <a:pos x="T6" y="T7"/>
                </a:cxn>
                <a:cxn ang="0">
                  <a:pos x="T8" y="T9"/>
                </a:cxn>
                <a:cxn ang="0">
                  <a:pos x="T10" y="T11"/>
                </a:cxn>
              </a:cxnLst>
              <a:rect l="0" t="0" r="r" b="b"/>
              <a:pathLst>
                <a:path w="38" h="69">
                  <a:moveTo>
                    <a:pt x="38" y="0"/>
                  </a:moveTo>
                  <a:lnTo>
                    <a:pt x="38" y="0"/>
                  </a:lnTo>
                  <a:lnTo>
                    <a:pt x="0" y="0"/>
                  </a:lnTo>
                  <a:lnTo>
                    <a:pt x="0" y="69"/>
                  </a:lnTo>
                  <a:lnTo>
                    <a:pt x="38" y="69"/>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7"/>
            <p:cNvSpPr>
              <a:spLocks noChangeArrowheads="1"/>
            </p:cNvSpPr>
            <p:nvPr/>
          </p:nvSpPr>
          <p:spPr bwMode="auto">
            <a:xfrm>
              <a:off x="8920162" y="5527119"/>
              <a:ext cx="60325" cy="6461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8"/>
            <p:cNvSpPr>
              <a:spLocks noChangeArrowheads="1"/>
            </p:cNvSpPr>
            <p:nvPr/>
          </p:nvSpPr>
          <p:spPr bwMode="auto">
            <a:xfrm>
              <a:off x="8920162" y="5527119"/>
              <a:ext cx="603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69"/>
            <p:cNvSpPr>
              <a:spLocks noChangeArrowheads="1"/>
            </p:cNvSpPr>
            <p:nvPr/>
          </p:nvSpPr>
          <p:spPr bwMode="auto">
            <a:xfrm>
              <a:off x="8839200" y="4977844"/>
              <a:ext cx="688975"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70"/>
            <p:cNvSpPr>
              <a:spLocks noChangeArrowheads="1"/>
            </p:cNvSpPr>
            <p:nvPr/>
          </p:nvSpPr>
          <p:spPr bwMode="auto">
            <a:xfrm>
              <a:off x="8839200" y="4977844"/>
              <a:ext cx="688975"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71"/>
            <p:cNvSpPr>
              <a:spLocks noChangeArrowheads="1"/>
            </p:cNvSpPr>
            <p:nvPr/>
          </p:nvSpPr>
          <p:spPr bwMode="auto">
            <a:xfrm>
              <a:off x="9236075" y="4977844"/>
              <a:ext cx="292100" cy="80963"/>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2"/>
            <p:cNvSpPr>
              <a:spLocks noChangeArrowheads="1"/>
            </p:cNvSpPr>
            <p:nvPr/>
          </p:nvSpPr>
          <p:spPr bwMode="auto">
            <a:xfrm>
              <a:off x="9236075" y="4977844"/>
              <a:ext cx="292100" cy="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3"/>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4"/>
            <p:cNvSpPr>
              <a:spLocks/>
            </p:cNvSpPr>
            <p:nvPr/>
          </p:nvSpPr>
          <p:spPr bwMode="auto">
            <a:xfrm>
              <a:off x="8074025" y="4839732"/>
              <a:ext cx="633413" cy="687388"/>
            </a:xfrm>
            <a:custGeom>
              <a:avLst/>
              <a:gdLst>
                <a:gd name="T0" fmla="*/ 0 w 399"/>
                <a:gd name="T1" fmla="*/ 0 h 433"/>
                <a:gd name="T2" fmla="*/ 0 w 399"/>
                <a:gd name="T3" fmla="*/ 373 h 433"/>
                <a:gd name="T4" fmla="*/ 77 w 399"/>
                <a:gd name="T5" fmla="*/ 373 h 433"/>
                <a:gd name="T6" fmla="*/ 77 w 399"/>
                <a:gd name="T7" fmla="*/ 433 h 433"/>
                <a:gd name="T8" fmla="*/ 173 w 399"/>
                <a:gd name="T9" fmla="*/ 433 h 433"/>
                <a:gd name="T10" fmla="*/ 173 w 399"/>
                <a:gd name="T11" fmla="*/ 373 h 433"/>
                <a:gd name="T12" fmla="*/ 249 w 399"/>
                <a:gd name="T13" fmla="*/ 373 h 433"/>
                <a:gd name="T14" fmla="*/ 249 w 399"/>
                <a:gd name="T15" fmla="*/ 433 h 433"/>
                <a:gd name="T16" fmla="*/ 311 w 399"/>
                <a:gd name="T17" fmla="*/ 433 h 433"/>
                <a:gd name="T18" fmla="*/ 311 w 399"/>
                <a:gd name="T19" fmla="*/ 364 h 433"/>
                <a:gd name="T20" fmla="*/ 399 w 399"/>
                <a:gd name="T21" fmla="*/ 364 h 433"/>
                <a:gd name="T22" fmla="*/ 399 w 399"/>
                <a:gd name="T23" fmla="*/ 258 h 433"/>
                <a:gd name="T24" fmla="*/ 0 w 399"/>
                <a:gd name="T2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33">
                  <a:moveTo>
                    <a:pt x="0" y="0"/>
                  </a:moveTo>
                  <a:lnTo>
                    <a:pt x="0" y="373"/>
                  </a:lnTo>
                  <a:lnTo>
                    <a:pt x="77" y="373"/>
                  </a:lnTo>
                  <a:lnTo>
                    <a:pt x="77" y="433"/>
                  </a:lnTo>
                  <a:lnTo>
                    <a:pt x="173" y="433"/>
                  </a:lnTo>
                  <a:lnTo>
                    <a:pt x="173" y="373"/>
                  </a:lnTo>
                  <a:lnTo>
                    <a:pt x="249" y="373"/>
                  </a:lnTo>
                  <a:lnTo>
                    <a:pt x="249" y="433"/>
                  </a:lnTo>
                  <a:lnTo>
                    <a:pt x="311" y="433"/>
                  </a:lnTo>
                  <a:lnTo>
                    <a:pt x="311" y="364"/>
                  </a:lnTo>
                  <a:lnTo>
                    <a:pt x="399" y="364"/>
                  </a:lnTo>
                  <a:lnTo>
                    <a:pt x="399" y="2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5"/>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6"/>
            <p:cNvSpPr>
              <a:spLocks/>
            </p:cNvSpPr>
            <p:nvPr/>
          </p:nvSpPr>
          <p:spPr bwMode="auto">
            <a:xfrm>
              <a:off x="8074025" y="5431869"/>
              <a:ext cx="122238" cy="741363"/>
            </a:xfrm>
            <a:custGeom>
              <a:avLst/>
              <a:gdLst>
                <a:gd name="T0" fmla="*/ 77 w 77"/>
                <a:gd name="T1" fmla="*/ 0 h 467"/>
                <a:gd name="T2" fmla="*/ 0 w 77"/>
                <a:gd name="T3" fmla="*/ 0 h 467"/>
                <a:gd name="T4" fmla="*/ 0 w 77"/>
                <a:gd name="T5" fmla="*/ 60 h 467"/>
                <a:gd name="T6" fmla="*/ 38 w 77"/>
                <a:gd name="T7" fmla="*/ 60 h 467"/>
                <a:gd name="T8" fmla="*/ 38 w 77"/>
                <a:gd name="T9" fmla="*/ 467 h 467"/>
                <a:gd name="T10" fmla="*/ 77 w 77"/>
                <a:gd name="T11" fmla="*/ 467 h 467"/>
                <a:gd name="T12" fmla="*/ 77 w 77"/>
                <a:gd name="T13" fmla="*/ 376 h 467"/>
                <a:gd name="T14" fmla="*/ 77 w 77"/>
                <a:gd name="T15" fmla="*/ 60 h 467"/>
                <a:gd name="T16" fmla="*/ 77 w 77"/>
                <a:gd name="T1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67">
                  <a:moveTo>
                    <a:pt x="77" y="0"/>
                  </a:moveTo>
                  <a:lnTo>
                    <a:pt x="0" y="0"/>
                  </a:lnTo>
                  <a:lnTo>
                    <a:pt x="0" y="60"/>
                  </a:lnTo>
                  <a:lnTo>
                    <a:pt x="38" y="60"/>
                  </a:lnTo>
                  <a:lnTo>
                    <a:pt x="38" y="467"/>
                  </a:lnTo>
                  <a:lnTo>
                    <a:pt x="77" y="467"/>
                  </a:lnTo>
                  <a:lnTo>
                    <a:pt x="77" y="376"/>
                  </a:lnTo>
                  <a:lnTo>
                    <a:pt x="77" y="60"/>
                  </a:lnTo>
                  <a:lnTo>
                    <a:pt x="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7"/>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8"/>
            <p:cNvSpPr>
              <a:spLocks/>
            </p:cNvSpPr>
            <p:nvPr/>
          </p:nvSpPr>
          <p:spPr bwMode="auto">
            <a:xfrm>
              <a:off x="8348662" y="5431869"/>
              <a:ext cx="120650" cy="741363"/>
            </a:xfrm>
            <a:custGeom>
              <a:avLst/>
              <a:gdLst>
                <a:gd name="T0" fmla="*/ 76 w 76"/>
                <a:gd name="T1" fmla="*/ 0 h 467"/>
                <a:gd name="T2" fmla="*/ 0 w 76"/>
                <a:gd name="T3" fmla="*/ 0 h 467"/>
                <a:gd name="T4" fmla="*/ 0 w 76"/>
                <a:gd name="T5" fmla="*/ 60 h 467"/>
                <a:gd name="T6" fmla="*/ 0 w 76"/>
                <a:gd name="T7" fmla="*/ 467 h 467"/>
                <a:gd name="T8" fmla="*/ 38 w 76"/>
                <a:gd name="T9" fmla="*/ 467 h 467"/>
                <a:gd name="T10" fmla="*/ 38 w 76"/>
                <a:gd name="T11" fmla="*/ 60 h 467"/>
                <a:gd name="T12" fmla="*/ 76 w 76"/>
                <a:gd name="T13" fmla="*/ 60 h 467"/>
                <a:gd name="T14" fmla="*/ 76 w 76"/>
                <a:gd name="T15" fmla="*/ 0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467">
                  <a:moveTo>
                    <a:pt x="76" y="0"/>
                  </a:moveTo>
                  <a:lnTo>
                    <a:pt x="0" y="0"/>
                  </a:lnTo>
                  <a:lnTo>
                    <a:pt x="0" y="60"/>
                  </a:lnTo>
                  <a:lnTo>
                    <a:pt x="0" y="467"/>
                  </a:lnTo>
                  <a:lnTo>
                    <a:pt x="38" y="467"/>
                  </a:lnTo>
                  <a:lnTo>
                    <a:pt x="38" y="60"/>
                  </a:lnTo>
                  <a:lnTo>
                    <a:pt x="76" y="60"/>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9"/>
            <p:cNvSpPr>
              <a:spLocks noChangeArrowheads="1"/>
            </p:cNvSpPr>
            <p:nvPr/>
          </p:nvSpPr>
          <p:spPr bwMode="auto">
            <a:xfrm>
              <a:off x="8567737" y="5417582"/>
              <a:ext cx="139700" cy="109538"/>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80"/>
            <p:cNvSpPr>
              <a:spLocks noChangeArrowheads="1"/>
            </p:cNvSpPr>
            <p:nvPr/>
          </p:nvSpPr>
          <p:spPr bwMode="auto">
            <a:xfrm>
              <a:off x="8567737" y="5417582"/>
              <a:ext cx="139700"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1"/>
            <p:cNvSpPr>
              <a:spLocks/>
            </p:cNvSpPr>
            <p:nvPr/>
          </p:nvSpPr>
          <p:spPr bwMode="auto">
            <a:xfrm>
              <a:off x="8147050" y="3904694"/>
              <a:ext cx="411163" cy="376238"/>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2"/>
            <p:cNvSpPr>
              <a:spLocks/>
            </p:cNvSpPr>
            <p:nvPr/>
          </p:nvSpPr>
          <p:spPr bwMode="auto">
            <a:xfrm>
              <a:off x="8366125" y="4082494"/>
              <a:ext cx="133350" cy="666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3"/>
            <p:cNvSpPr>
              <a:spLocks/>
            </p:cNvSpPr>
            <p:nvPr/>
          </p:nvSpPr>
          <p:spPr bwMode="auto">
            <a:xfrm>
              <a:off x="8399462" y="4082494"/>
              <a:ext cx="66675" cy="33338"/>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414139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39035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7" name="Rectangle 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4</a:t>
            </a:r>
          </a:p>
        </p:txBody>
      </p:sp>
      <p:sp>
        <p:nvSpPr>
          <p:cNvPr id="16" name="Rectangle 15"/>
          <p:cNvSpPr/>
          <p:nvPr/>
        </p:nvSpPr>
        <p:spPr bwMode="auto">
          <a:xfrm>
            <a:off x="6248717" y="1439862"/>
            <a:ext cx="731520" cy="731520"/>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5</a:t>
            </a:r>
          </a:p>
        </p:txBody>
      </p:sp>
      <p:sp>
        <p:nvSpPr>
          <p:cNvPr id="17" name="Rectangle 16"/>
          <p:cNvSpPr/>
          <p:nvPr/>
        </p:nvSpPr>
        <p:spPr bwMode="auto">
          <a:xfrm>
            <a:off x="6248717"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6</a:t>
            </a: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Microsoft Cloud Data Platform</a:t>
            </a:r>
            <a:endParaRPr lang="en-US" dirty="0">
              <a:solidFill>
                <a:schemeClr val="tx1"/>
              </a:solidFill>
              <a:latin typeface="Segoe UI Light"/>
              <a:ea typeface="Segoe UI" pitchFamily="34" charset="0"/>
              <a:cs typeface="Segoe UI" pitchFamily="34" charset="0"/>
            </a:endParaRPr>
          </a:p>
        </p:txBody>
      </p:sp>
      <p:sp>
        <p:nvSpPr>
          <p:cNvPr id="22" name="Rectangle 21"/>
          <p:cNvSpPr/>
          <p:nvPr/>
        </p:nvSpPr>
        <p:spPr bwMode="auto">
          <a:xfrm>
            <a:off x="1188720" y="221710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Implement SQL Server on Azure VM</a:t>
            </a:r>
            <a:endParaRPr lang="en-US" dirty="0">
              <a:solidFill>
                <a:schemeClr val="tx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Implement SQL Database</a:t>
            </a:r>
            <a:endParaRPr lang="en-US" dirty="0">
              <a:solidFill>
                <a:srgbClr val="505050"/>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SQL Database High Availability and Disaster Recovery</a:t>
            </a:r>
            <a:endParaRPr lang="en-US" dirty="0">
              <a:solidFill>
                <a:schemeClr val="tx1"/>
              </a:solidFill>
              <a:latin typeface="Segoe UI Light"/>
              <a:ea typeface="Segoe UI" pitchFamily="34" charset="0"/>
              <a:cs typeface="Segoe UI" pitchFamily="34" charset="0"/>
            </a:endParaRPr>
          </a:p>
        </p:txBody>
      </p:sp>
      <p:sp>
        <p:nvSpPr>
          <p:cNvPr id="26" name="Rectangle 25"/>
          <p:cNvSpPr/>
          <p:nvPr/>
        </p:nvSpPr>
        <p:spPr bwMode="auto">
          <a:xfrm>
            <a:off x="6980237" y="1439862"/>
            <a:ext cx="4937760" cy="731520"/>
          </a:xfrm>
          <a:prstGeom prst="rect">
            <a:avLst/>
          </a:prstGeom>
          <a:solidFill>
            <a:srgbClr val="0727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bg1"/>
                </a:solidFill>
                <a:latin typeface="Segoe UI Light"/>
                <a:ea typeface="Segoe UI" pitchFamily="34" charset="0"/>
                <a:cs typeface="Segoe UI" pitchFamily="34" charset="0"/>
              </a:rPr>
              <a:t>Hybrid HA/DR Scenarios with SQL Server</a:t>
            </a:r>
            <a:endParaRPr lang="en-US" dirty="0">
              <a:solidFill>
                <a:schemeClr val="bg1"/>
              </a:solidFill>
              <a:latin typeface="Segoe UI Light"/>
              <a:ea typeface="Segoe UI" pitchFamily="34" charset="0"/>
              <a:cs typeface="Segoe UI" pitchFamily="34" charset="0"/>
            </a:endParaRPr>
          </a:p>
        </p:txBody>
      </p:sp>
      <p:sp>
        <p:nvSpPr>
          <p:cNvPr id="27" name="Rectangle 26"/>
          <p:cNvSpPr/>
          <p:nvPr/>
        </p:nvSpPr>
        <p:spPr bwMode="auto">
          <a:xfrm>
            <a:off x="6980237"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esign and Implement Security</a:t>
            </a:r>
            <a:endParaRPr lang="en-US" dirty="0">
              <a:solidFill>
                <a:srgbClr val="505050"/>
              </a:solidFill>
              <a:latin typeface="Segoe UI Light"/>
              <a:ea typeface="Segoe UI" pitchFamily="34" charset="0"/>
              <a:cs typeface="Segoe UI" pitchFamily="34" charset="0"/>
            </a:endParaRPr>
          </a:p>
        </p:txBody>
      </p:sp>
      <p:sp>
        <p:nvSpPr>
          <p:cNvPr id="18" name="Rectangle 17"/>
          <p:cNvSpPr/>
          <p:nvPr/>
        </p:nvSpPr>
        <p:spPr bwMode="auto">
          <a:xfrm>
            <a:off x="6248717"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7</a:t>
            </a:r>
          </a:p>
        </p:txBody>
      </p:sp>
      <p:sp>
        <p:nvSpPr>
          <p:cNvPr id="19" name="Rectangle 18"/>
          <p:cNvSpPr/>
          <p:nvPr/>
        </p:nvSpPr>
        <p:spPr bwMode="auto">
          <a:xfrm>
            <a:off x="6980237"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Monitor and Manage Implementations on Azure</a:t>
            </a:r>
            <a:endParaRPr lang="en-US" dirty="0">
              <a:solidFill>
                <a:srgbClr val="505050"/>
              </a:solidFill>
              <a:latin typeface="Segoe UI Light"/>
              <a:ea typeface="Segoe UI" pitchFamily="34" charset="0"/>
              <a:cs typeface="Segoe UI" pitchFamily="34" charset="0"/>
            </a:endParaRPr>
          </a:p>
        </p:txBody>
      </p:sp>
      <p:sp>
        <p:nvSpPr>
          <p:cNvPr id="20" name="Rectangle 19"/>
          <p:cNvSpPr/>
          <p:nvPr/>
        </p:nvSpPr>
        <p:spPr bwMode="auto">
          <a:xfrm>
            <a:off x="6248717"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8</a:t>
            </a:r>
          </a:p>
        </p:txBody>
      </p:sp>
      <p:sp>
        <p:nvSpPr>
          <p:cNvPr id="24" name="Rectangle 23"/>
          <p:cNvSpPr/>
          <p:nvPr/>
        </p:nvSpPr>
        <p:spPr bwMode="auto">
          <a:xfrm>
            <a:off x="6980237"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esign and Implement Database Solutions for SQL Server and SQL Database</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7362273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this module</a:t>
            </a:r>
            <a:endParaRPr lang="en-US" dirty="0"/>
          </a:p>
        </p:txBody>
      </p:sp>
      <p:sp>
        <p:nvSpPr>
          <p:cNvPr id="6" name="Rectangle 5"/>
          <p:cNvSpPr/>
          <p:nvPr/>
        </p:nvSpPr>
        <p:spPr bwMode="auto">
          <a:xfrm>
            <a:off x="457200" y="14398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57200" y="29943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457200" y="37715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457200" y="22171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188720" y="143986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HA/DR deployment architectures</a:t>
            </a:r>
            <a:endParaRPr lang="en-US" dirty="0">
              <a:solidFill>
                <a:schemeClr val="tx1"/>
              </a:solidFill>
              <a:latin typeface="Segoe UI Light"/>
              <a:ea typeface="Segoe UI" pitchFamily="34" charset="0"/>
              <a:cs typeface="Segoe UI" pitchFamily="34" charset="0"/>
            </a:endParaRPr>
          </a:p>
        </p:txBody>
      </p:sp>
      <p:sp>
        <p:nvSpPr>
          <p:cNvPr id="23" name="Rectangle 22"/>
          <p:cNvSpPr/>
          <p:nvPr/>
        </p:nvSpPr>
        <p:spPr bwMode="auto">
          <a:xfrm>
            <a:off x="1188720" y="299434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err="1" smtClean="0">
                <a:solidFill>
                  <a:srgbClr val="505050"/>
                </a:solidFill>
                <a:latin typeface="Segoe UI Light"/>
                <a:ea typeface="Segoe UI" pitchFamily="34" charset="0"/>
                <a:cs typeface="Segoe UI" pitchFamily="34" charset="0"/>
              </a:rPr>
              <a:t>AlwaysOn</a:t>
            </a:r>
            <a:r>
              <a:rPr lang="en-US" dirty="0" smtClean="0">
                <a:solidFill>
                  <a:srgbClr val="505050"/>
                </a:solidFill>
                <a:latin typeface="Segoe UI Light"/>
                <a:ea typeface="Segoe UI" pitchFamily="34" charset="0"/>
                <a:cs typeface="Segoe UI" pitchFamily="34" charset="0"/>
              </a:rPr>
              <a:t> Failover Clustering</a:t>
            </a:r>
            <a:endParaRPr lang="en-US" dirty="0">
              <a:solidFill>
                <a:srgbClr val="505050"/>
              </a:solidFill>
              <a:latin typeface="Segoe UI Light"/>
              <a:ea typeface="Segoe UI" pitchFamily="34" charset="0"/>
              <a:cs typeface="Segoe UI" pitchFamily="34" charset="0"/>
            </a:endParaRPr>
          </a:p>
        </p:txBody>
      </p:sp>
      <p:sp>
        <p:nvSpPr>
          <p:cNvPr id="25" name="Rectangle 24"/>
          <p:cNvSpPr/>
          <p:nvPr/>
        </p:nvSpPr>
        <p:spPr bwMode="auto">
          <a:xfrm>
            <a:off x="1188720" y="377158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Database Mirroring</a:t>
            </a:r>
            <a:endParaRPr lang="en-US" dirty="0">
              <a:solidFill>
                <a:srgbClr val="505050"/>
              </a:solidFill>
              <a:latin typeface="Segoe UI Light"/>
              <a:ea typeface="Segoe UI" pitchFamily="34" charset="0"/>
              <a:cs typeface="Segoe UI" pitchFamily="34" charset="0"/>
            </a:endParaRPr>
          </a:p>
        </p:txBody>
      </p:sp>
      <p:sp>
        <p:nvSpPr>
          <p:cNvPr id="27" name="Rectangle 26"/>
          <p:cNvSpPr/>
          <p:nvPr/>
        </p:nvSpPr>
        <p:spPr bwMode="auto">
          <a:xfrm>
            <a:off x="1188720" y="221710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err="1" smtClean="0">
                <a:solidFill>
                  <a:srgbClr val="505050"/>
                </a:solidFill>
                <a:latin typeface="Segoe UI Light"/>
                <a:ea typeface="Segoe UI" pitchFamily="34" charset="0"/>
                <a:cs typeface="Segoe UI" pitchFamily="34" charset="0"/>
              </a:rPr>
              <a:t>AlwaysOn</a:t>
            </a:r>
            <a:r>
              <a:rPr lang="en-US" dirty="0" smtClean="0">
                <a:solidFill>
                  <a:srgbClr val="505050"/>
                </a:solidFill>
                <a:latin typeface="Segoe UI Light"/>
                <a:ea typeface="Segoe UI" pitchFamily="34" charset="0"/>
                <a:cs typeface="Segoe UI" pitchFamily="34" charset="0"/>
              </a:rPr>
              <a:t> availability groups</a:t>
            </a:r>
            <a:endParaRPr lang="en-US" dirty="0">
              <a:solidFill>
                <a:srgbClr val="505050"/>
              </a:solidFill>
              <a:latin typeface="Segoe UI Light"/>
              <a:ea typeface="Segoe UI" pitchFamily="34" charset="0"/>
              <a:cs typeface="Segoe UI" pitchFamily="34" charset="0"/>
            </a:endParaRPr>
          </a:p>
        </p:txBody>
      </p:sp>
      <p:sp>
        <p:nvSpPr>
          <p:cNvPr id="39" name="Rectangle 38"/>
          <p:cNvSpPr/>
          <p:nvPr/>
        </p:nvSpPr>
        <p:spPr bwMode="auto">
          <a:xfrm>
            <a:off x="6400800" y="143497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6400800" y="298945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6400800" y="376669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6400800" y="221221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7132320" y="1434972"/>
            <a:ext cx="4937760" cy="73152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chemeClr val="tx1"/>
                </a:solidFill>
                <a:latin typeface="Segoe UI Light"/>
                <a:ea typeface="Segoe UI" pitchFamily="34" charset="0"/>
                <a:cs typeface="Segoe UI" pitchFamily="34" charset="0"/>
              </a:rPr>
              <a:t>Log Shipping</a:t>
            </a:r>
            <a:endParaRPr lang="en-US" dirty="0">
              <a:solidFill>
                <a:schemeClr val="tx1"/>
              </a:solidFill>
              <a:latin typeface="Segoe UI Light"/>
              <a:ea typeface="Segoe UI" pitchFamily="34" charset="0"/>
              <a:cs typeface="Segoe UI" pitchFamily="34" charset="0"/>
            </a:endParaRPr>
          </a:p>
        </p:txBody>
      </p:sp>
      <p:sp>
        <p:nvSpPr>
          <p:cNvPr id="44" name="Rectangle 43"/>
          <p:cNvSpPr/>
          <p:nvPr/>
        </p:nvSpPr>
        <p:spPr bwMode="auto">
          <a:xfrm>
            <a:off x="7132320" y="298945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Managed Backups</a:t>
            </a:r>
            <a:endParaRPr lang="en-US" dirty="0">
              <a:solidFill>
                <a:srgbClr val="505050"/>
              </a:solidFill>
              <a:latin typeface="Segoe UI Light"/>
              <a:ea typeface="Segoe UI" pitchFamily="34" charset="0"/>
              <a:cs typeface="Segoe UI" pitchFamily="34" charset="0"/>
            </a:endParaRPr>
          </a:p>
        </p:txBody>
      </p:sp>
      <p:sp>
        <p:nvSpPr>
          <p:cNvPr id="45" name="Rectangle 44"/>
          <p:cNvSpPr/>
          <p:nvPr/>
        </p:nvSpPr>
        <p:spPr bwMode="auto">
          <a:xfrm>
            <a:off x="7132320" y="376669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SQL Server data files on Azure</a:t>
            </a:r>
            <a:endParaRPr lang="en-US" dirty="0">
              <a:solidFill>
                <a:srgbClr val="505050"/>
              </a:solidFill>
              <a:latin typeface="Segoe UI Light"/>
              <a:ea typeface="Segoe UI" pitchFamily="34" charset="0"/>
              <a:cs typeface="Segoe UI" pitchFamily="34" charset="0"/>
            </a:endParaRPr>
          </a:p>
        </p:txBody>
      </p:sp>
      <p:sp>
        <p:nvSpPr>
          <p:cNvPr id="46" name="Rectangle 45"/>
          <p:cNvSpPr/>
          <p:nvPr/>
        </p:nvSpPr>
        <p:spPr bwMode="auto">
          <a:xfrm>
            <a:off x="7132320" y="2212212"/>
            <a:ext cx="4937760"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dirty="0" smtClean="0">
                <a:solidFill>
                  <a:srgbClr val="505050"/>
                </a:solidFill>
                <a:latin typeface="Segoe UI Light"/>
                <a:ea typeface="Segoe UI" pitchFamily="34" charset="0"/>
                <a:cs typeface="Segoe UI" pitchFamily="34" charset="0"/>
              </a:rPr>
              <a:t>Backup to Azure</a:t>
            </a:r>
            <a:endParaRPr lang="en-US"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21458782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A/DR deployment architectures</a:t>
            </a:r>
            <a:endParaRPr lang="en-US" dirty="0"/>
          </a:p>
        </p:txBody>
      </p:sp>
      <p:sp>
        <p:nvSpPr>
          <p:cNvPr id="4" name="Rectangle 3"/>
          <p:cNvSpPr/>
          <p:nvPr/>
        </p:nvSpPr>
        <p:spPr bwMode="auto">
          <a:xfrm>
            <a:off x="122237" y="1294657"/>
            <a:ext cx="12192000" cy="509820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2306594"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gradFill>
                  <a:gsLst>
                    <a:gs pos="0">
                      <a:srgbClr val="FFFFFF"/>
                    </a:gs>
                    <a:gs pos="100000">
                      <a:srgbClr val="FFFFFF"/>
                    </a:gs>
                  </a:gsLst>
                  <a:lin ang="5400000" scaled="0"/>
                </a:gradFill>
                <a:ea typeface="Segoe UI" pitchFamily="34" charset="0"/>
                <a:cs typeface="Segoe UI" pitchFamily="34" charset="0"/>
              </a:rPr>
              <a:t>AlwaysOn</a:t>
            </a:r>
            <a:r>
              <a:rPr lang="en-US" sz="1600" dirty="0" smtClean="0">
                <a:gradFill>
                  <a:gsLst>
                    <a:gs pos="0">
                      <a:srgbClr val="FFFFFF"/>
                    </a:gs>
                    <a:gs pos="100000">
                      <a:srgbClr val="FFFFFF"/>
                    </a:gs>
                  </a:gsLst>
                  <a:lin ang="5400000" scaled="0"/>
                </a:gradFill>
                <a:ea typeface="Segoe UI" pitchFamily="34" charset="0"/>
                <a:cs typeface="Segoe UI" pitchFamily="34" charset="0"/>
              </a:rPr>
              <a:t> Failover Clustering</a:t>
            </a:r>
          </a:p>
        </p:txBody>
      </p:sp>
      <p:sp>
        <p:nvSpPr>
          <p:cNvPr id="6" name="Rectangle 5"/>
          <p:cNvSpPr/>
          <p:nvPr/>
        </p:nvSpPr>
        <p:spPr bwMode="auto">
          <a:xfrm>
            <a:off x="296925" y="1592262"/>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gradFill>
                  <a:gsLst>
                    <a:gs pos="0">
                      <a:srgbClr val="FFFFFF"/>
                    </a:gs>
                    <a:gs pos="100000">
                      <a:srgbClr val="FFFFFF"/>
                    </a:gs>
                  </a:gsLst>
                  <a:lin ang="5400000" scaled="0"/>
                </a:gradFill>
                <a:ea typeface="Segoe UI" pitchFamily="34" charset="0"/>
                <a:cs typeface="Segoe UI" pitchFamily="34" charset="0"/>
              </a:rPr>
              <a:t>AlwaysOn</a:t>
            </a:r>
            <a:r>
              <a:rPr lang="en-US" sz="1600" dirty="0" smtClean="0">
                <a:gradFill>
                  <a:gsLst>
                    <a:gs pos="0">
                      <a:srgbClr val="FFFFFF"/>
                    </a:gs>
                    <a:gs pos="100000">
                      <a:srgbClr val="FFFFFF"/>
                    </a:gs>
                  </a:gsLst>
                  <a:lin ang="5400000" scaled="0"/>
                </a:gradFill>
                <a:ea typeface="Segoe UI" pitchFamily="34" charset="0"/>
                <a:cs typeface="Segoe UI" pitchFamily="34" charset="0"/>
              </a:rPr>
              <a:t> Availability Groups</a:t>
            </a:r>
          </a:p>
        </p:txBody>
      </p:sp>
      <p:sp>
        <p:nvSpPr>
          <p:cNvPr id="7" name="Rectangle 6"/>
          <p:cNvSpPr/>
          <p:nvPr/>
        </p:nvSpPr>
        <p:spPr bwMode="auto">
          <a:xfrm>
            <a:off x="4316028"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Database Mirroring</a:t>
            </a:r>
          </a:p>
        </p:txBody>
      </p:sp>
      <p:sp>
        <p:nvSpPr>
          <p:cNvPr id="8" name="Rectangle 7"/>
          <p:cNvSpPr/>
          <p:nvPr/>
        </p:nvSpPr>
        <p:spPr bwMode="auto">
          <a:xfrm>
            <a:off x="6325462"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Log Shipping</a:t>
            </a:r>
          </a:p>
        </p:txBody>
      </p:sp>
      <p:sp>
        <p:nvSpPr>
          <p:cNvPr id="9" name="Rectangle 8"/>
          <p:cNvSpPr/>
          <p:nvPr/>
        </p:nvSpPr>
        <p:spPr bwMode="auto">
          <a:xfrm>
            <a:off x="8314629"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Backup to Azure (blob storage)</a:t>
            </a:r>
          </a:p>
        </p:txBody>
      </p:sp>
      <p:sp>
        <p:nvSpPr>
          <p:cNvPr id="10" name="Rectangle 9"/>
          <p:cNvSpPr/>
          <p:nvPr/>
        </p:nvSpPr>
        <p:spPr bwMode="auto">
          <a:xfrm>
            <a:off x="10291446" y="1582345"/>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gradFill>
                  <a:gsLst>
                    <a:gs pos="0">
                      <a:srgbClr val="FFFFFF"/>
                    </a:gs>
                    <a:gs pos="100000">
                      <a:srgbClr val="FFFFFF"/>
                    </a:gs>
                  </a:gsLst>
                  <a:lin ang="5400000" scaled="0"/>
                </a:gradFill>
                <a:ea typeface="Segoe UI" pitchFamily="34" charset="0"/>
                <a:cs typeface="Segoe UI" pitchFamily="34" charset="0"/>
              </a:rPr>
              <a:t>Azure Site Recovery</a:t>
            </a:r>
          </a:p>
        </p:txBody>
      </p:sp>
      <p:sp>
        <p:nvSpPr>
          <p:cNvPr id="11" name="TextBox 10"/>
          <p:cNvSpPr txBox="1"/>
          <p:nvPr/>
        </p:nvSpPr>
        <p:spPr>
          <a:xfrm>
            <a:off x="296925"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Azure Only </a:t>
            </a:r>
            <a:r>
              <a:rPr lang="en-US" sz="1200" dirty="0" smtClean="0"/>
              <a:t>Availability </a:t>
            </a:r>
            <a:r>
              <a:rPr lang="en-US" sz="1200" dirty="0"/>
              <a:t>replicas running across multiple datacenters in Azure VMs for disaster recovery</a:t>
            </a:r>
            <a:r>
              <a:rPr lang="en-US" sz="1200" dirty="0" smtClean="0"/>
              <a:t>.</a:t>
            </a:r>
          </a:p>
          <a:p>
            <a:pPr>
              <a:lnSpc>
                <a:spcPct val="90000"/>
              </a:lnSpc>
              <a:spcAft>
                <a:spcPts val="600"/>
              </a:spcAft>
            </a:pPr>
            <a:r>
              <a:rPr lang="en-US" sz="1200" dirty="0" smtClean="0"/>
              <a:t>Cross-region </a:t>
            </a:r>
            <a:r>
              <a:rPr lang="en-US" sz="1200" dirty="0"/>
              <a:t>solution protects against complete site </a:t>
            </a:r>
            <a:r>
              <a:rPr lang="en-US" sz="1200" dirty="0" smtClean="0"/>
              <a:t>outage.</a:t>
            </a:r>
          </a:p>
          <a:p>
            <a:r>
              <a:rPr lang="en-US" sz="1200" b="1" dirty="0" smtClean="0"/>
              <a:t>Hybrid </a:t>
            </a:r>
          </a:p>
          <a:p>
            <a:pPr>
              <a:lnSpc>
                <a:spcPct val="90000"/>
              </a:lnSpc>
              <a:spcAft>
                <a:spcPts val="600"/>
              </a:spcAft>
            </a:pPr>
            <a:r>
              <a:rPr lang="en-US" sz="1200" dirty="0"/>
              <a:t>Some replicas running in Azure VMs and other replicas running on-premises for cross-site disaster recovery. </a:t>
            </a:r>
          </a:p>
        </p:txBody>
      </p:sp>
      <p:sp>
        <p:nvSpPr>
          <p:cNvPr id="12" name="TextBox 11"/>
          <p:cNvSpPr txBox="1"/>
          <p:nvPr/>
        </p:nvSpPr>
        <p:spPr>
          <a:xfrm>
            <a:off x="2313154"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HA only, not DR </a:t>
            </a:r>
            <a:br>
              <a:rPr lang="en-US" sz="1200" b="1" dirty="0" smtClean="0"/>
            </a:br>
            <a:r>
              <a:rPr lang="en-US" sz="1200" dirty="0" smtClean="0"/>
              <a:t>FCI </a:t>
            </a:r>
            <a:r>
              <a:rPr lang="en-US" sz="1200" dirty="0"/>
              <a:t>on a two-node WSFC running in Azure VMs with storage supported by a third-party clustering </a:t>
            </a:r>
            <a:r>
              <a:rPr lang="en-US" sz="1200" dirty="0" smtClean="0"/>
              <a:t>solution.</a:t>
            </a:r>
          </a:p>
          <a:p>
            <a:pPr>
              <a:lnSpc>
                <a:spcPct val="90000"/>
              </a:lnSpc>
              <a:spcAft>
                <a:spcPts val="600"/>
              </a:spcAft>
            </a:pPr>
            <a:r>
              <a:rPr lang="en-US" sz="1200" dirty="0" smtClean="0"/>
              <a:t>FCI </a:t>
            </a:r>
            <a:r>
              <a:rPr lang="en-US" sz="1200" dirty="0"/>
              <a:t>on a two-node WSFC running in Azure VMs with remote iSCSI Target shared block storage via </a:t>
            </a:r>
            <a:r>
              <a:rPr lang="en-US" sz="1200" dirty="0" smtClean="0"/>
              <a:t>ExpressRoute.</a:t>
            </a:r>
            <a:endParaRPr lang="en-US" sz="1200" dirty="0"/>
          </a:p>
          <a:p>
            <a:pPr>
              <a:lnSpc>
                <a:spcPct val="90000"/>
              </a:lnSpc>
              <a:spcAft>
                <a:spcPts val="600"/>
              </a:spcAft>
            </a:pPr>
            <a:endParaRPr lang="en-US" sz="1200" dirty="0" smtClean="0">
              <a:gradFill>
                <a:gsLst>
                  <a:gs pos="2917">
                    <a:schemeClr val="tx1"/>
                  </a:gs>
                  <a:gs pos="30000">
                    <a:schemeClr val="tx1"/>
                  </a:gs>
                </a:gsLst>
                <a:lin ang="5400000" scaled="0"/>
              </a:gradFill>
            </a:endParaRPr>
          </a:p>
        </p:txBody>
      </p:sp>
      <p:sp>
        <p:nvSpPr>
          <p:cNvPr id="13" name="TextBox 12"/>
          <p:cNvSpPr txBox="1"/>
          <p:nvPr/>
        </p:nvSpPr>
        <p:spPr>
          <a:xfrm>
            <a:off x="4324329"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Azure Only</a:t>
            </a:r>
            <a:r>
              <a:rPr lang="en-US" sz="1200" dirty="0" smtClean="0"/>
              <a:t/>
            </a:r>
            <a:br>
              <a:rPr lang="en-US" sz="1200" dirty="0" smtClean="0"/>
            </a:br>
            <a:r>
              <a:rPr lang="en-US" sz="1200" dirty="0" smtClean="0"/>
              <a:t>Principal </a:t>
            </a:r>
            <a:r>
              <a:rPr lang="en-US" sz="1200" dirty="0"/>
              <a:t>and mirror and servers running in different datacenters for disaster recovery. </a:t>
            </a:r>
            <a:endParaRPr lang="en-US" sz="1200" dirty="0" smtClean="0"/>
          </a:p>
          <a:p>
            <a:pPr>
              <a:lnSpc>
                <a:spcPct val="90000"/>
              </a:lnSpc>
              <a:spcAft>
                <a:spcPts val="600"/>
              </a:spcAft>
            </a:pPr>
            <a:r>
              <a:rPr lang="en-US" sz="1200" dirty="0" smtClean="0">
                <a:gradFill>
                  <a:gsLst>
                    <a:gs pos="2917">
                      <a:schemeClr val="tx1"/>
                    </a:gs>
                    <a:gs pos="30000">
                      <a:schemeClr val="tx1"/>
                    </a:gs>
                  </a:gsLst>
                  <a:lin ang="5400000" scaled="0"/>
                </a:gradFill>
              </a:rPr>
              <a:t>Principal, Mirror, and Witness run within same Azure data center, deployed using a DC or server certificates for HA.</a:t>
            </a:r>
          </a:p>
          <a:p>
            <a:pPr>
              <a:lnSpc>
                <a:spcPct val="90000"/>
              </a:lnSpc>
              <a:spcAft>
                <a:spcPts val="600"/>
              </a:spcAft>
            </a:pPr>
            <a:r>
              <a:rPr lang="en-US" sz="1200" b="1" dirty="0" smtClean="0">
                <a:gradFill>
                  <a:gsLst>
                    <a:gs pos="2917">
                      <a:schemeClr val="tx1"/>
                    </a:gs>
                    <a:gs pos="30000">
                      <a:schemeClr val="tx1"/>
                    </a:gs>
                  </a:gsLst>
                  <a:lin ang="5400000" scaled="0"/>
                </a:gradFill>
              </a:rPr>
              <a:t>Hybrid</a:t>
            </a:r>
            <a:r>
              <a:rPr lang="en-US" sz="1200" dirty="0" smtClean="0">
                <a:gradFill>
                  <a:gsLst>
                    <a:gs pos="2917">
                      <a:schemeClr val="tx1"/>
                    </a:gs>
                    <a:gs pos="30000">
                      <a:schemeClr val="tx1"/>
                    </a:gs>
                  </a:gsLst>
                  <a:lin ang="5400000" scaled="0"/>
                </a:gradFill>
              </a:rPr>
              <a:t/>
            </a:r>
            <a:br>
              <a:rPr lang="en-US" sz="1200" dirty="0" smtClean="0">
                <a:gradFill>
                  <a:gsLst>
                    <a:gs pos="2917">
                      <a:schemeClr val="tx1"/>
                    </a:gs>
                    <a:gs pos="30000">
                      <a:schemeClr val="tx1"/>
                    </a:gs>
                  </a:gsLst>
                  <a:lin ang="5400000" scaled="0"/>
                </a:gradFill>
              </a:rPr>
            </a:br>
            <a:r>
              <a:rPr lang="en-US" sz="1200" dirty="0"/>
              <a:t>One partner running in an Azure VM and the other running on-premises for cross-site disaster recovery using server certificates. </a:t>
            </a:r>
            <a:endParaRPr lang="en-US" sz="1200" dirty="0">
              <a:gradFill>
                <a:gsLst>
                  <a:gs pos="2917">
                    <a:schemeClr val="tx1"/>
                  </a:gs>
                  <a:gs pos="30000">
                    <a:schemeClr val="tx1"/>
                  </a:gs>
                </a:gsLst>
                <a:lin ang="5400000" scaled="0"/>
              </a:gradFill>
            </a:endParaRPr>
          </a:p>
        </p:txBody>
      </p:sp>
      <p:sp>
        <p:nvSpPr>
          <p:cNvPr id="14" name="TextBox 13"/>
          <p:cNvSpPr txBox="1"/>
          <p:nvPr/>
        </p:nvSpPr>
        <p:spPr>
          <a:xfrm>
            <a:off x="6332022"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For DR only / Hybrid</a:t>
            </a:r>
          </a:p>
          <a:p>
            <a:pPr>
              <a:lnSpc>
                <a:spcPct val="90000"/>
              </a:lnSpc>
              <a:spcAft>
                <a:spcPts val="600"/>
              </a:spcAft>
            </a:pPr>
            <a:r>
              <a:rPr lang="en-US" sz="1200" dirty="0" smtClean="0"/>
              <a:t>One </a:t>
            </a:r>
            <a:r>
              <a:rPr lang="en-US" sz="1200" dirty="0"/>
              <a:t>server running in an Azure VM and the other running on-premises for cross-site disaster recovery</a:t>
            </a:r>
            <a:r>
              <a:rPr lang="en-US" sz="1200" dirty="0" smtClean="0"/>
              <a:t>.</a:t>
            </a:r>
          </a:p>
          <a:p>
            <a:pPr>
              <a:lnSpc>
                <a:spcPct val="90000"/>
              </a:lnSpc>
              <a:spcAft>
                <a:spcPts val="600"/>
              </a:spcAft>
            </a:pPr>
            <a:r>
              <a:rPr lang="en-US" sz="1200" dirty="0" smtClean="0">
                <a:gradFill>
                  <a:gsLst>
                    <a:gs pos="2917">
                      <a:schemeClr val="tx1"/>
                    </a:gs>
                    <a:gs pos="30000">
                      <a:schemeClr val="tx1"/>
                    </a:gs>
                  </a:gsLst>
                  <a:lin ang="5400000" scaled="0"/>
                </a:gradFill>
              </a:rPr>
              <a:t>Log </a:t>
            </a:r>
            <a:r>
              <a:rPr lang="en-US" sz="1200" dirty="0">
                <a:gradFill>
                  <a:gsLst>
                    <a:gs pos="2917">
                      <a:schemeClr val="tx1"/>
                    </a:gs>
                    <a:gs pos="30000">
                      <a:schemeClr val="tx1"/>
                    </a:gs>
                  </a:gsLst>
                  <a:lin ang="5400000" scaled="0"/>
                </a:gradFill>
              </a:rPr>
              <a:t>shipping depends on Windows file sharing, so a VPN connection between the Azure virtual network and the on-premises network is required.</a:t>
            </a:r>
          </a:p>
          <a:p>
            <a:pPr>
              <a:lnSpc>
                <a:spcPct val="90000"/>
              </a:lnSpc>
              <a:spcAft>
                <a:spcPts val="600"/>
              </a:spcAft>
            </a:pPr>
            <a:r>
              <a:rPr lang="en-US" sz="1200" dirty="0" smtClean="0">
                <a:gradFill>
                  <a:gsLst>
                    <a:gs pos="2917">
                      <a:schemeClr val="tx1"/>
                    </a:gs>
                    <a:gs pos="30000">
                      <a:schemeClr val="tx1"/>
                    </a:gs>
                  </a:gsLst>
                  <a:lin ang="5400000" scaled="0"/>
                </a:gradFill>
              </a:rPr>
              <a:t>Requires AD deployment on DR site.</a:t>
            </a:r>
          </a:p>
        </p:txBody>
      </p:sp>
      <p:sp>
        <p:nvSpPr>
          <p:cNvPr id="15" name="TextBox 14"/>
          <p:cNvSpPr txBox="1"/>
          <p:nvPr/>
        </p:nvSpPr>
        <p:spPr>
          <a:xfrm>
            <a:off x="8317181"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dirty="0"/>
              <a:t>On-premises production databases backed up directly to Azure blob storage for disaster recovery</a:t>
            </a:r>
            <a:r>
              <a:rPr lang="en-US" sz="1200" dirty="0" smtClean="0"/>
              <a:t>. </a:t>
            </a:r>
            <a:endParaRPr lang="en-US" sz="1200" dirty="0" smtClean="0">
              <a:gradFill>
                <a:gsLst>
                  <a:gs pos="2917">
                    <a:schemeClr val="tx1"/>
                  </a:gs>
                  <a:gs pos="30000">
                    <a:schemeClr val="tx1"/>
                  </a:gs>
                </a:gsLst>
                <a:lin ang="5400000" scaled="0"/>
              </a:gradFill>
            </a:endParaRPr>
          </a:p>
        </p:txBody>
      </p:sp>
      <p:sp>
        <p:nvSpPr>
          <p:cNvPr id="16" name="TextBox 15"/>
          <p:cNvSpPr txBox="1"/>
          <p:nvPr/>
        </p:nvSpPr>
        <p:spPr>
          <a:xfrm>
            <a:off x="10293380"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pPr>
            <a:r>
              <a:rPr lang="en-US" sz="1200" b="1" dirty="0"/>
              <a:t>Simpler BCDR </a:t>
            </a:r>
            <a:r>
              <a:rPr lang="en-US" sz="1200" b="1" dirty="0" smtClean="0"/>
              <a:t>story</a:t>
            </a:r>
            <a:endParaRPr lang="en-US" sz="1200" dirty="0"/>
          </a:p>
          <a:p>
            <a:pPr>
              <a:lnSpc>
                <a:spcPct val="90000"/>
              </a:lnSpc>
              <a:spcAft>
                <a:spcPts val="600"/>
              </a:spcAft>
            </a:pPr>
            <a:r>
              <a:rPr lang="en-US" sz="1200" dirty="0" smtClean="0"/>
              <a:t>Site </a:t>
            </a:r>
            <a:r>
              <a:rPr lang="en-US" sz="1200" dirty="0"/>
              <a:t>Recovery makes it easy to handle replication, failover and recovery for your on-premises workloads and applications.</a:t>
            </a:r>
          </a:p>
          <a:p>
            <a:pPr>
              <a:lnSpc>
                <a:spcPct val="90000"/>
              </a:lnSpc>
              <a:spcAft>
                <a:spcPts val="600"/>
              </a:spcAft>
            </a:pPr>
            <a:r>
              <a:rPr lang="en-US" sz="1200" b="1" dirty="0"/>
              <a:t>Flexible </a:t>
            </a:r>
            <a:r>
              <a:rPr lang="en-US" sz="1200" b="1" dirty="0" smtClean="0"/>
              <a:t>replication </a:t>
            </a:r>
            <a:r>
              <a:rPr lang="en-US" sz="1200" dirty="0" smtClean="0"/>
              <a:t>You </a:t>
            </a:r>
            <a:r>
              <a:rPr lang="en-US" sz="1200" dirty="0"/>
              <a:t>can replicate on-premises servers, Hyper-V virtual machines, and VMware virtual machines. </a:t>
            </a:r>
            <a:endParaRPr lang="en-US" sz="1200" dirty="0" smtClean="0"/>
          </a:p>
          <a:p>
            <a:pPr>
              <a:lnSpc>
                <a:spcPct val="90000"/>
              </a:lnSpc>
              <a:spcAft>
                <a:spcPts val="600"/>
              </a:spcAft>
            </a:pPr>
            <a:r>
              <a:rPr lang="en-US" sz="1200" b="1" dirty="0" smtClean="0"/>
              <a:t>Eliminate </a:t>
            </a:r>
            <a:r>
              <a:rPr lang="en-US" sz="1200" b="1" dirty="0"/>
              <a:t>the need for </a:t>
            </a:r>
            <a:r>
              <a:rPr lang="en-US" sz="1200" b="1" dirty="0" smtClean="0"/>
              <a:t>secondary</a:t>
            </a:r>
            <a:endParaRPr lang="en-US" sz="1200" dirty="0"/>
          </a:p>
        </p:txBody>
      </p:sp>
    </p:spTree>
    <p:extLst>
      <p:ext uri="{BB962C8B-B14F-4D97-AF65-F5344CB8AC3E}">
        <p14:creationId xmlns:p14="http://schemas.microsoft.com/office/powerpoint/2010/main" val="5571012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91440" rIns="91440"/>
          <a:lstStyle/>
          <a:p>
            <a:r>
              <a:rPr lang="en-US" dirty="0" err="1" smtClean="0"/>
              <a:t>AlwaysOn</a:t>
            </a:r>
            <a:r>
              <a:rPr lang="en-US" dirty="0" smtClean="0"/>
              <a:t> Availability Groups</a:t>
            </a:r>
            <a:endParaRPr lang="en-US" dirty="0"/>
          </a:p>
        </p:txBody>
      </p:sp>
      <p:sp>
        <p:nvSpPr>
          <p:cNvPr id="4" name="Rectangle 3"/>
          <p:cNvSpPr/>
          <p:nvPr/>
        </p:nvSpPr>
        <p:spPr bwMode="auto">
          <a:xfrm>
            <a:off x="122237" y="1294657"/>
            <a:ext cx="12192000" cy="5098205"/>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96925" y="1592262"/>
            <a:ext cx="1834981" cy="914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smtClean="0">
                <a:gradFill>
                  <a:gsLst>
                    <a:gs pos="0">
                      <a:srgbClr val="FFFFFF"/>
                    </a:gs>
                    <a:gs pos="100000">
                      <a:srgbClr val="FFFFFF"/>
                    </a:gs>
                  </a:gsLst>
                  <a:lin ang="5400000" scaled="0"/>
                </a:gradFill>
                <a:ea typeface="Segoe UI" pitchFamily="34" charset="0"/>
                <a:cs typeface="Segoe UI" pitchFamily="34" charset="0"/>
              </a:rPr>
              <a:t>AlwaysOn</a:t>
            </a:r>
            <a:r>
              <a:rPr lang="en-US" sz="1600" dirty="0" smtClean="0">
                <a:gradFill>
                  <a:gsLst>
                    <a:gs pos="0">
                      <a:srgbClr val="FFFFFF"/>
                    </a:gs>
                    <a:gs pos="100000">
                      <a:srgbClr val="FFFFFF"/>
                    </a:gs>
                  </a:gsLst>
                  <a:lin ang="5400000" scaled="0"/>
                </a:gradFill>
                <a:ea typeface="Segoe UI" pitchFamily="34" charset="0"/>
                <a:cs typeface="Segoe UI" pitchFamily="34" charset="0"/>
              </a:rPr>
              <a:t> Availability Groups</a:t>
            </a:r>
          </a:p>
        </p:txBody>
      </p:sp>
      <p:sp>
        <p:nvSpPr>
          <p:cNvPr id="11" name="TextBox 10"/>
          <p:cNvSpPr txBox="1"/>
          <p:nvPr/>
        </p:nvSpPr>
        <p:spPr>
          <a:xfrm>
            <a:off x="296925" y="2424216"/>
            <a:ext cx="1821859" cy="3740046"/>
          </a:xfrm>
          <a:prstGeom prst="rect">
            <a:avLst/>
          </a:prstGeom>
          <a:noFill/>
          <a:ln>
            <a:solidFill>
              <a:srgbClr val="0072C6"/>
            </a:solidFill>
          </a:ln>
        </p:spPr>
        <p:txBody>
          <a:bodyPr wrap="square" lIns="182880" tIns="146304" rIns="182880" bIns="146304" rtlCol="0">
            <a:noAutofit/>
          </a:bodyPr>
          <a:lstStyle/>
          <a:p>
            <a:pPr>
              <a:lnSpc>
                <a:spcPct val="90000"/>
              </a:lnSpc>
              <a:spcAft>
                <a:spcPts val="600"/>
              </a:spcAft>
            </a:pPr>
            <a:r>
              <a:rPr lang="en-US" sz="1200" b="1" dirty="0" smtClean="0"/>
              <a:t>Azure Only </a:t>
            </a:r>
            <a:r>
              <a:rPr lang="en-US" sz="1200" dirty="0" smtClean="0"/>
              <a:t>Availability </a:t>
            </a:r>
            <a:r>
              <a:rPr lang="en-US" sz="1200" dirty="0"/>
              <a:t>replicas running across multiple datacenters in Azure VMs for disaster recovery</a:t>
            </a:r>
            <a:r>
              <a:rPr lang="en-US" sz="1200" dirty="0" smtClean="0"/>
              <a:t>.</a:t>
            </a:r>
          </a:p>
          <a:p>
            <a:pPr>
              <a:lnSpc>
                <a:spcPct val="90000"/>
              </a:lnSpc>
              <a:spcAft>
                <a:spcPts val="600"/>
              </a:spcAft>
            </a:pPr>
            <a:r>
              <a:rPr lang="en-US" sz="1200" dirty="0" smtClean="0"/>
              <a:t>Cross-region </a:t>
            </a:r>
            <a:r>
              <a:rPr lang="en-US" sz="1200" dirty="0"/>
              <a:t>solution protects against complete site </a:t>
            </a:r>
            <a:r>
              <a:rPr lang="en-US" sz="1200" dirty="0" smtClean="0"/>
              <a:t>outage.</a:t>
            </a:r>
          </a:p>
          <a:p>
            <a:pPr>
              <a:lnSpc>
                <a:spcPct val="90000"/>
              </a:lnSpc>
            </a:pPr>
            <a:endParaRPr lang="en-US" sz="1200" dirty="0"/>
          </a:p>
          <a:p>
            <a:pPr>
              <a:lnSpc>
                <a:spcPct val="90000"/>
              </a:lnSpc>
            </a:pPr>
            <a:r>
              <a:rPr lang="en-US" sz="1200" b="1" dirty="0" smtClean="0"/>
              <a:t>Hybrid</a:t>
            </a:r>
          </a:p>
          <a:p>
            <a:pPr>
              <a:lnSpc>
                <a:spcPct val="90000"/>
              </a:lnSpc>
              <a:spcAft>
                <a:spcPts val="600"/>
              </a:spcAft>
            </a:pPr>
            <a:r>
              <a:rPr lang="en-US" sz="1200" dirty="0" smtClean="0"/>
              <a:t>Some replicas </a:t>
            </a:r>
            <a:r>
              <a:rPr lang="en-US" sz="1200" dirty="0"/>
              <a:t>running in Azure VMs and other replicas running on-premises for cross-site disaster recovery. </a:t>
            </a:r>
            <a:endParaRPr lang="en-US" sz="1200" dirty="0" smtClean="0">
              <a:gradFill>
                <a:gsLst>
                  <a:gs pos="2917">
                    <a:schemeClr val="tx1"/>
                  </a:gs>
                  <a:gs pos="30000">
                    <a:schemeClr val="tx1"/>
                  </a:gs>
                </a:gsLst>
                <a:lin ang="5400000" scaled="0"/>
              </a:gradFill>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9103" y="1820862"/>
            <a:ext cx="4343400" cy="2226365"/>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5200" y="1621147"/>
            <a:ext cx="4071325" cy="2673092"/>
          </a:xfrm>
          <a:prstGeom prst="rect">
            <a:avLst/>
          </a:prstGeom>
        </p:spPr>
      </p:pic>
      <p:sp>
        <p:nvSpPr>
          <p:cNvPr id="20" name="Rectangle 19"/>
          <p:cNvSpPr/>
          <p:nvPr/>
        </p:nvSpPr>
        <p:spPr>
          <a:xfrm>
            <a:off x="7315200" y="4411662"/>
            <a:ext cx="4313237" cy="1277273"/>
          </a:xfrm>
          <a:prstGeom prst="rect">
            <a:avLst/>
          </a:prstGeom>
        </p:spPr>
        <p:txBody>
          <a:bodyPr wrap="square">
            <a:spAutoFit/>
          </a:bodyPr>
          <a:lstStyle/>
          <a:p>
            <a:pPr>
              <a:spcBef>
                <a:spcPts val="1200"/>
              </a:spcBef>
              <a:spcAft>
                <a:spcPts val="600"/>
              </a:spcAft>
            </a:pPr>
            <a:r>
              <a:rPr lang="en-US" sz="1100" dirty="0"/>
              <a:t>Availability replicas running across multiple datacenters in Azure VMs for disaster recovery. This cross-region solution protects against complete site outage. </a:t>
            </a:r>
            <a:r>
              <a:rPr lang="en-US" sz="1100" dirty="0" smtClean="0"/>
              <a:t/>
            </a:r>
            <a:br>
              <a:rPr lang="en-US" sz="1100" dirty="0" smtClean="0"/>
            </a:br>
            <a:r>
              <a:rPr lang="en-US" sz="1100" dirty="0" smtClean="0"/>
              <a:t>Within </a:t>
            </a:r>
            <a:r>
              <a:rPr lang="en-US" sz="1100" dirty="0"/>
              <a:t>a region, all replicas should be within the same cloud service and the same </a:t>
            </a:r>
            <a:r>
              <a:rPr lang="en-US" sz="1100" dirty="0" err="1"/>
              <a:t>VNet</a:t>
            </a:r>
            <a:r>
              <a:rPr lang="en-US" sz="1100" dirty="0"/>
              <a:t>. Because each region will have a separate </a:t>
            </a:r>
            <a:r>
              <a:rPr lang="en-US" sz="1100" dirty="0" err="1"/>
              <a:t>VNet</a:t>
            </a:r>
            <a:r>
              <a:rPr lang="en-US" sz="1100" dirty="0"/>
              <a:t>, these solutions require </a:t>
            </a:r>
            <a:r>
              <a:rPr lang="en-US" sz="1100" dirty="0" err="1"/>
              <a:t>VNet</a:t>
            </a:r>
            <a:r>
              <a:rPr lang="en-US" sz="1100" dirty="0"/>
              <a:t> to </a:t>
            </a:r>
            <a:r>
              <a:rPr lang="en-US" sz="1100" dirty="0" err="1"/>
              <a:t>VNet</a:t>
            </a:r>
            <a:r>
              <a:rPr lang="en-US" sz="1100" dirty="0"/>
              <a:t> connectivity. For more information, see </a:t>
            </a:r>
            <a:r>
              <a:rPr lang="en-US" sz="1100" dirty="0">
                <a:hlinkClick r:id="rId5"/>
              </a:rPr>
              <a:t>Configure a Site-to-Site </a:t>
            </a:r>
            <a:r>
              <a:rPr lang="en-US" sz="1100" dirty="0" smtClean="0">
                <a:hlinkClick r:id="rId5"/>
              </a:rPr>
              <a:t>VPN</a:t>
            </a:r>
            <a:endParaRPr lang="en-US" sz="1100" dirty="0"/>
          </a:p>
        </p:txBody>
      </p:sp>
      <p:sp>
        <p:nvSpPr>
          <p:cNvPr id="21" name="Rectangle 20"/>
          <p:cNvSpPr/>
          <p:nvPr/>
        </p:nvSpPr>
        <p:spPr>
          <a:xfrm>
            <a:off x="2476763" y="4411662"/>
            <a:ext cx="4028080" cy="1107996"/>
          </a:xfrm>
          <a:prstGeom prst="rect">
            <a:avLst/>
          </a:prstGeom>
        </p:spPr>
        <p:txBody>
          <a:bodyPr wrap="square">
            <a:spAutoFit/>
          </a:bodyPr>
          <a:lstStyle/>
          <a:p>
            <a:pPr>
              <a:spcAft>
                <a:spcPts val="600"/>
              </a:spcAft>
            </a:pPr>
            <a:r>
              <a:rPr lang="en-US" sz="1100" dirty="0"/>
              <a:t>All availability replicas running in Azure VMs for high availability within the same region. You need to configure a domain controller VM, because Windows Server Failover Clustering (WSFC) requires an Active Directory domain</a:t>
            </a:r>
            <a:r>
              <a:rPr lang="en-US" sz="1100" dirty="0" smtClean="0"/>
              <a:t>.</a:t>
            </a:r>
            <a:br>
              <a:rPr lang="en-US" sz="1100" dirty="0" smtClean="0"/>
            </a:br>
            <a:r>
              <a:rPr lang="en-US" sz="1100" dirty="0" smtClean="0"/>
              <a:t>For </a:t>
            </a:r>
            <a:r>
              <a:rPr lang="en-US" sz="1100" dirty="0"/>
              <a:t>more information, see </a:t>
            </a:r>
            <a:r>
              <a:rPr lang="en-US" sz="1100" dirty="0">
                <a:hlinkClick r:id="rId6"/>
              </a:rPr>
              <a:t>Configure </a:t>
            </a:r>
            <a:r>
              <a:rPr lang="en-US" sz="1100" dirty="0" err="1">
                <a:hlinkClick r:id="rId6"/>
              </a:rPr>
              <a:t>AlwaysOn</a:t>
            </a:r>
            <a:r>
              <a:rPr lang="en-US" sz="1100" dirty="0">
                <a:hlinkClick r:id="rId6"/>
              </a:rPr>
              <a:t> Availability Groups in Azure (GUI)</a:t>
            </a:r>
            <a:r>
              <a:rPr lang="en-US" sz="1100" dirty="0"/>
              <a:t>.</a:t>
            </a:r>
          </a:p>
        </p:txBody>
      </p:sp>
      <p:sp>
        <p:nvSpPr>
          <p:cNvPr id="2" name="Rectangle 1"/>
          <p:cNvSpPr/>
          <p:nvPr/>
        </p:nvSpPr>
        <p:spPr bwMode="auto">
          <a:xfrm>
            <a:off x="2636837" y="6011862"/>
            <a:ext cx="7010400" cy="609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VER AVAILABILITY SETS</a:t>
            </a:r>
          </a:p>
        </p:txBody>
      </p:sp>
    </p:spTree>
    <p:extLst>
      <p:ext uri="{BB962C8B-B14F-4D97-AF65-F5344CB8AC3E}">
        <p14:creationId xmlns:p14="http://schemas.microsoft.com/office/powerpoint/2010/main" val="4679059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76505" y="6456922"/>
            <a:ext cx="6656832" cy="457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smtClean="0">
              <a:solidFill>
                <a:schemeClr val="bg1"/>
              </a:solidFill>
              <a:latin typeface="+mj-lt"/>
              <a:ea typeface="Segoe UI" pitchFamily="34" charset="0"/>
              <a:cs typeface="Segoe UI" pitchFamily="34" charset="0"/>
            </a:endParaRPr>
          </a:p>
        </p:txBody>
      </p:sp>
      <p:pic>
        <p:nvPicPr>
          <p:cNvPr id="3" name="Picture 6" descr="image0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828800"/>
            <a:ext cx="6602843" cy="4566920"/>
          </a:xfrm>
          <a:prstGeom prst="rect">
            <a:avLst/>
          </a:prstGeom>
          <a:noFill/>
          <a:ln w="63500" cap="sq">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7285037" y="1737360"/>
            <a:ext cx="4643725" cy="4648200"/>
          </a:xfrm>
          <a:prstGeom prst="rect">
            <a:avLst/>
          </a:prstGeom>
          <a:noFill/>
          <a:ln>
            <a:solidFill>
              <a:schemeClr val="accent1"/>
            </a:solidFill>
          </a:ln>
        </p:spPr>
        <p:txBody>
          <a:bodyPr wrap="square" lIns="91440" tIns="91440" rIns="91440" bIns="91440" rtlCol="0">
            <a:noAutofit/>
          </a:bodyPr>
          <a:lstStyle/>
          <a:p>
            <a:pPr>
              <a:spcBef>
                <a:spcPts val="2000"/>
              </a:spcBef>
              <a:spcAft>
                <a:spcPts val="0"/>
              </a:spcAft>
            </a:pPr>
            <a:r>
              <a:rPr lang="en-US" sz="2400" dirty="0" smtClean="0">
                <a:solidFill>
                  <a:srgbClr val="002060"/>
                </a:solidFill>
                <a:latin typeface="+mj-lt"/>
                <a:cs typeface="Segoe UI Semilight" panose="020B0402040204020203" pitchFamily="34" charset="0"/>
              </a:rPr>
              <a:t>Today:</a:t>
            </a:r>
          </a:p>
          <a:p>
            <a:pPr>
              <a:spcBef>
                <a:spcPts val="2000"/>
              </a:spcBef>
              <a:spcAft>
                <a:spcPts val="0"/>
              </a:spcAft>
            </a:pPr>
            <a:r>
              <a:rPr lang="en-US" dirty="0" smtClean="0">
                <a:cs typeface="Segoe UI Semilight" panose="020B0402040204020203" pitchFamily="34" charset="0"/>
              </a:rPr>
              <a:t>Requires manual configuration of the Listener </a:t>
            </a:r>
            <a:br>
              <a:rPr lang="en-US" dirty="0" smtClean="0">
                <a:cs typeface="Segoe UI Semilight" panose="020B0402040204020203" pitchFamily="34" charset="0"/>
              </a:rPr>
            </a:br>
            <a:endParaRPr lang="en-US" dirty="0" smtClean="0">
              <a:cs typeface="Segoe UI Semilight" panose="020B0402040204020203" pitchFamily="34" charset="0"/>
            </a:endParaRPr>
          </a:p>
          <a:p>
            <a:pPr>
              <a:spcBef>
                <a:spcPts val="2000"/>
              </a:spcBef>
              <a:spcAft>
                <a:spcPts val="0"/>
              </a:spcAft>
            </a:pPr>
            <a:r>
              <a:rPr lang="en-US" sz="2400" dirty="0" smtClean="0">
                <a:solidFill>
                  <a:schemeClr val="tx2"/>
                </a:solidFill>
                <a:latin typeface="+mj-lt"/>
                <a:cs typeface="Segoe UI Semilight" panose="020B0402040204020203" pitchFamily="34" charset="0"/>
              </a:rPr>
              <a:t>In SQL </a:t>
            </a:r>
            <a:r>
              <a:rPr lang="en-US" sz="2400" dirty="0">
                <a:solidFill>
                  <a:schemeClr val="tx2"/>
                </a:solidFill>
                <a:latin typeface="+mj-lt"/>
                <a:cs typeface="Segoe UI Semilight" panose="020B0402040204020203" pitchFamily="34" charset="0"/>
              </a:rPr>
              <a:t>Server </a:t>
            </a:r>
            <a:r>
              <a:rPr lang="en-US" sz="2400" dirty="0" smtClean="0">
                <a:solidFill>
                  <a:schemeClr val="tx2"/>
                </a:solidFill>
                <a:latin typeface="+mj-lt"/>
                <a:cs typeface="Segoe UI Semilight" panose="020B0402040204020203" pitchFamily="34" charset="0"/>
              </a:rPr>
              <a:t>2016:</a:t>
            </a:r>
          </a:p>
          <a:p>
            <a:pPr>
              <a:spcBef>
                <a:spcPts val="2000"/>
              </a:spcBef>
              <a:spcAft>
                <a:spcPts val="0"/>
              </a:spcAft>
            </a:pPr>
            <a:r>
              <a:rPr lang="en-US" sz="1800" dirty="0" smtClean="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Ability to configure the Availability Group Listener in Azure</a:t>
            </a:r>
          </a:p>
          <a:p>
            <a:pPr>
              <a:spcBef>
                <a:spcPts val="2000"/>
              </a:spcBef>
              <a:spcAft>
                <a:spcPts val="0"/>
              </a:spcAft>
            </a:pPr>
            <a:r>
              <a:rPr lang="en-US" sz="1800" dirty="0" smtClean="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Clients </a:t>
            </a:r>
            <a:r>
              <a:rPr lang="en-US" sz="1800" dirty="0">
                <a:ln>
                  <a:solidFill>
                    <a:srgbClr val="FFFFFF">
                      <a:alpha val="0"/>
                    </a:srgbClr>
                  </a:solidFill>
                </a:ln>
                <a:latin typeface="Segoe UI" panose="020B0502040204020203" pitchFamily="34" charset="0"/>
                <a:ea typeface="Segoe UI" panose="020B0502040204020203" pitchFamily="34" charset="0"/>
                <a:cs typeface="Segoe UI" panose="020B0502040204020203" pitchFamily="34" charset="0"/>
              </a:rPr>
              <a:t>can connect to the Azure replica after failover using the Listener name</a:t>
            </a:r>
          </a:p>
        </p:txBody>
      </p:sp>
      <p:sp>
        <p:nvSpPr>
          <p:cNvPr id="11" name="Title 1"/>
          <p:cNvSpPr txBox="1">
            <a:spLocks/>
          </p:cNvSpPr>
          <p:nvPr/>
        </p:nvSpPr>
        <p:spPr>
          <a:xfrm>
            <a:off x="265176" y="411480"/>
            <a:ext cx="12170418" cy="733825"/>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1"/>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4900" dirty="0" smtClean="0"/>
              <a:t/>
            </a:r>
            <a:br>
              <a:rPr lang="en-US" sz="4900" dirty="0" smtClean="0"/>
            </a:br>
            <a:endParaRPr lang="en-US" sz="3600" dirty="0">
              <a:solidFill>
                <a:schemeClr val="accent1"/>
              </a:solidFill>
            </a:endParaRPr>
          </a:p>
        </p:txBody>
      </p:sp>
      <p:sp>
        <p:nvSpPr>
          <p:cNvPr id="4" name="Title 3"/>
          <p:cNvSpPr>
            <a:spLocks noGrp="1"/>
          </p:cNvSpPr>
          <p:nvPr>
            <p:ph type="title"/>
          </p:nvPr>
        </p:nvSpPr>
        <p:spPr>
          <a:xfrm>
            <a:off x="365760" y="365760"/>
            <a:ext cx="11887518" cy="813445"/>
          </a:xfrm>
        </p:spPr>
        <p:txBody>
          <a:bodyPr lIns="91440" rIns="91440"/>
          <a:lstStyle/>
          <a:p>
            <a:r>
              <a:rPr lang="en-US" sz="4800" dirty="0" smtClean="0"/>
              <a:t>Add Azure Replica Wizard</a:t>
            </a:r>
            <a:endParaRPr lang="en-US" sz="4800" dirty="0"/>
          </a:p>
        </p:txBody>
      </p:sp>
      <p:sp>
        <p:nvSpPr>
          <p:cNvPr id="9" name="Rectangle 8"/>
          <p:cNvSpPr/>
          <p:nvPr/>
        </p:nvSpPr>
        <p:spPr>
          <a:xfrm>
            <a:off x="373944" y="1077948"/>
            <a:ext cx="10730935" cy="461665"/>
          </a:xfrm>
          <a:prstGeom prst="rect">
            <a:avLst/>
          </a:prstGeom>
        </p:spPr>
        <p:txBody>
          <a:bodyPr wrap="square">
            <a:spAutoFit/>
          </a:bodyPr>
          <a:lstStyle/>
          <a:p>
            <a:r>
              <a:rPr lang="en-US" sz="2400" dirty="0">
                <a:solidFill>
                  <a:srgbClr val="0072C6"/>
                </a:solidFill>
                <a:latin typeface="Segoe UI Light"/>
              </a:rPr>
              <a:t>Automatic Listener Configuration</a:t>
            </a:r>
          </a:p>
        </p:txBody>
      </p:sp>
    </p:spTree>
    <p:extLst>
      <p:ext uri="{BB962C8B-B14F-4D97-AF65-F5344CB8AC3E}">
        <p14:creationId xmlns:p14="http://schemas.microsoft.com/office/powerpoint/2010/main" val="1944277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65760" y="365760"/>
            <a:ext cx="11887518" cy="749582"/>
          </a:xfrm>
        </p:spPr>
        <p:txBody>
          <a:bodyPr lIns="91440" rIns="91440"/>
          <a:lstStyle/>
          <a:p>
            <a:r>
              <a:rPr lang="en-US" sz="4800" dirty="0" smtClean="0"/>
              <a:t>Before extending AlwaysOn configuration</a:t>
            </a:r>
            <a:endParaRPr lang="en-US" sz="2200" dirty="0">
              <a:gradFill>
                <a:gsLst>
                  <a:gs pos="2655">
                    <a:schemeClr val="tx1"/>
                  </a:gs>
                  <a:gs pos="31000">
                    <a:schemeClr val="tx1"/>
                  </a:gs>
                </a:gsLst>
                <a:lin ang="5400000" scaled="0"/>
              </a:gradFill>
            </a:endParaRPr>
          </a:p>
        </p:txBody>
      </p:sp>
      <p:sp>
        <p:nvSpPr>
          <p:cNvPr id="6" name="Rectangle 5"/>
          <p:cNvSpPr/>
          <p:nvPr/>
        </p:nvSpPr>
        <p:spPr>
          <a:xfrm>
            <a:off x="1522753" y="6343050"/>
            <a:ext cx="9296399" cy="461665"/>
          </a:xfrm>
          <a:prstGeom prst="rect">
            <a:avLst/>
          </a:prstGeom>
        </p:spPr>
        <p:txBody>
          <a:bodyPr wrap="square">
            <a:spAutoFit/>
          </a:bodyPr>
          <a:lstStyle/>
          <a:p>
            <a:pPr marL="0" lvl="1" algn="ctr"/>
            <a:r>
              <a:rPr lang="en-US" sz="2400" dirty="0">
                <a:solidFill>
                  <a:srgbClr val="505050"/>
                </a:solidFill>
                <a:latin typeface="Segoe UI Light"/>
              </a:rPr>
              <a:t>Tutorial: </a:t>
            </a:r>
            <a:r>
              <a:rPr lang="en-US" sz="2400" dirty="0">
                <a:solidFill>
                  <a:srgbClr val="BA141A"/>
                </a:solidFill>
                <a:latin typeface="Segoe UI Light"/>
                <a:hlinkClick r:id="rId3"/>
              </a:rPr>
              <a:t>http://</a:t>
            </a:r>
            <a:r>
              <a:rPr lang="en-US" sz="2400" dirty="0" smtClean="0">
                <a:solidFill>
                  <a:srgbClr val="BA141A"/>
                </a:solidFill>
                <a:latin typeface="Segoe UI Light"/>
                <a:hlinkClick r:id="rId3"/>
              </a:rPr>
              <a:t>msdn.microsoft.com/en-us/library/dn636917.aspx</a:t>
            </a:r>
            <a:endParaRPr lang="en-US" sz="2400" dirty="0">
              <a:solidFill>
                <a:srgbClr val="BA141A"/>
              </a:solidFill>
              <a:latin typeface="Segoe UI Light"/>
            </a:endParaRPr>
          </a:p>
        </p:txBody>
      </p:sp>
      <p:pic>
        <p:nvPicPr>
          <p:cNvPr id="2" name="Picture 1"/>
          <p:cNvPicPr>
            <a:picLocks noChangeAspect="1"/>
          </p:cNvPicPr>
          <p:nvPr/>
        </p:nvPicPr>
        <p:blipFill>
          <a:blip r:embed="rId4"/>
          <a:stretch>
            <a:fillRect/>
          </a:stretch>
        </p:blipFill>
        <p:spPr>
          <a:xfrm>
            <a:off x="4529973" y="1877230"/>
            <a:ext cx="3281962" cy="4102454"/>
          </a:xfrm>
          <a:prstGeom prst="rect">
            <a:avLst/>
          </a:prstGeom>
          <a:ln w="63500">
            <a:solidFill>
              <a:schemeClr val="tx2"/>
            </a:solidFill>
            <a:miter lim="800000"/>
          </a:ln>
        </p:spPr>
      </p:pic>
      <p:pic>
        <p:nvPicPr>
          <p:cNvPr id="3" name="Picture 2"/>
          <p:cNvPicPr>
            <a:picLocks noChangeAspect="1"/>
          </p:cNvPicPr>
          <p:nvPr/>
        </p:nvPicPr>
        <p:blipFill>
          <a:blip r:embed="rId5"/>
          <a:stretch>
            <a:fillRect/>
          </a:stretch>
        </p:blipFill>
        <p:spPr>
          <a:xfrm>
            <a:off x="4492023" y="1877230"/>
            <a:ext cx="3357862" cy="4300606"/>
          </a:xfrm>
          <a:prstGeom prst="rect">
            <a:avLst/>
          </a:prstGeom>
          <a:ln w="63500">
            <a:solidFill>
              <a:schemeClr val="tx2"/>
            </a:solidFill>
            <a:miter lim="800000"/>
          </a:ln>
        </p:spPr>
      </p:pic>
      <p:pic>
        <p:nvPicPr>
          <p:cNvPr id="5" name="Picture 4"/>
          <p:cNvPicPr>
            <a:picLocks noChangeAspect="1"/>
          </p:cNvPicPr>
          <p:nvPr/>
        </p:nvPicPr>
        <p:blipFill>
          <a:blip r:embed="rId6"/>
          <a:stretch>
            <a:fillRect/>
          </a:stretch>
        </p:blipFill>
        <p:spPr>
          <a:xfrm>
            <a:off x="2358270" y="1877230"/>
            <a:ext cx="7625369" cy="4027917"/>
          </a:xfrm>
          <a:prstGeom prst="rect">
            <a:avLst/>
          </a:prstGeom>
          <a:ln w="63500">
            <a:solidFill>
              <a:schemeClr val="tx2"/>
            </a:solidFill>
            <a:miter lim="800000"/>
          </a:ln>
        </p:spPr>
      </p:pic>
      <p:pic>
        <p:nvPicPr>
          <p:cNvPr id="4" name="Picture 3"/>
          <p:cNvPicPr>
            <a:picLocks noChangeAspect="1"/>
          </p:cNvPicPr>
          <p:nvPr/>
        </p:nvPicPr>
        <p:blipFill>
          <a:blip r:embed="rId7"/>
          <a:stretch>
            <a:fillRect/>
          </a:stretch>
        </p:blipFill>
        <p:spPr>
          <a:xfrm>
            <a:off x="2715894" y="1877230"/>
            <a:ext cx="6910121" cy="4056383"/>
          </a:xfrm>
          <a:prstGeom prst="rect">
            <a:avLst/>
          </a:prstGeom>
          <a:ln w="63500">
            <a:solidFill>
              <a:schemeClr val="tx2"/>
            </a:solidFill>
            <a:miter lim="800000"/>
          </a:ln>
        </p:spPr>
      </p:pic>
      <p:sp>
        <p:nvSpPr>
          <p:cNvPr id="8" name="Rectangle 7"/>
          <p:cNvSpPr/>
          <p:nvPr/>
        </p:nvSpPr>
        <p:spPr>
          <a:xfrm>
            <a:off x="373944" y="1077948"/>
            <a:ext cx="10730935" cy="461665"/>
          </a:xfrm>
          <a:prstGeom prst="rect">
            <a:avLst/>
          </a:prstGeom>
        </p:spPr>
        <p:txBody>
          <a:bodyPr wrap="square">
            <a:spAutoFit/>
          </a:bodyPr>
          <a:lstStyle/>
          <a:p>
            <a:r>
              <a:rPr lang="en-US" sz="2400" dirty="0">
                <a:solidFill>
                  <a:srgbClr val="0072C6"/>
                </a:solidFill>
                <a:latin typeface="Segoe UI Light"/>
              </a:rPr>
              <a:t>Configure site-to-site VPN tunnel between on-premises SQL Server and Azure</a:t>
            </a:r>
          </a:p>
        </p:txBody>
      </p:sp>
    </p:spTree>
    <p:extLst>
      <p:ext uri="{BB962C8B-B14F-4D97-AF65-F5344CB8AC3E}">
        <p14:creationId xmlns:p14="http://schemas.microsoft.com/office/powerpoint/2010/main" val="1941733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5"/>
                                        </p:tgtEl>
                                      </p:cBhvr>
                                    </p:animEffect>
                                    <p:set>
                                      <p:cBhvr>
                                        <p:cTn id="25" dur="1" fill="hold">
                                          <p:stCondLst>
                                            <p:cond delay="499"/>
                                          </p:stCondLst>
                                        </p:cTn>
                                        <p:tgtEl>
                                          <p:spTgt spid="5"/>
                                        </p:tgtEl>
                                        <p:attrNameLst>
                                          <p:attrName>style.visibility</p:attrName>
                                        </p:attrNameLst>
                                      </p:cBhvr>
                                      <p:to>
                                        <p:strVal val="hidden"/>
                                      </p:to>
                                    </p:se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887518" cy="865696"/>
          </a:xfrm>
        </p:spPr>
        <p:txBody>
          <a:bodyPr lIns="91440" rIns="91440">
            <a:noAutofit/>
          </a:bodyPr>
          <a:lstStyle/>
          <a:p>
            <a:r>
              <a:rPr lang="en-US" sz="4800" dirty="0"/>
              <a:t>AlwaysOn </a:t>
            </a:r>
            <a:r>
              <a:rPr lang="en-US" sz="4800" dirty="0" smtClean="0"/>
              <a:t>replica </a:t>
            </a:r>
            <a:r>
              <a:rPr lang="en-US" sz="4800" dirty="0"/>
              <a:t>in </a:t>
            </a:r>
            <a:r>
              <a:rPr lang="en-US" sz="4800" dirty="0" smtClean="0"/>
              <a:t>Azure</a:t>
            </a:r>
            <a:br>
              <a:rPr lang="en-US" sz="4800" dirty="0" smtClean="0"/>
            </a:br>
            <a:endParaRPr lang="en-US" sz="2400" dirty="0"/>
          </a:p>
        </p:txBody>
      </p:sp>
      <p:sp>
        <p:nvSpPr>
          <p:cNvPr id="62" name="Rectangle 61"/>
          <p:cNvSpPr/>
          <p:nvPr/>
        </p:nvSpPr>
        <p:spPr>
          <a:xfrm>
            <a:off x="373944" y="1077948"/>
            <a:ext cx="10730935" cy="461665"/>
          </a:xfrm>
          <a:prstGeom prst="rect">
            <a:avLst/>
          </a:prstGeom>
        </p:spPr>
        <p:txBody>
          <a:bodyPr wrap="square">
            <a:spAutoFit/>
          </a:bodyPr>
          <a:lstStyle/>
          <a:p>
            <a:r>
              <a:rPr lang="en-US" sz="2400" dirty="0">
                <a:solidFill>
                  <a:srgbClr val="0072C6"/>
                </a:solidFill>
                <a:latin typeface="Segoe UI Light"/>
              </a:rPr>
              <a:t>Sample deployment</a:t>
            </a:r>
          </a:p>
        </p:txBody>
      </p:sp>
      <p:grpSp>
        <p:nvGrpSpPr>
          <p:cNvPr id="68" name="Group 67"/>
          <p:cNvGrpSpPr/>
          <p:nvPr/>
        </p:nvGrpSpPr>
        <p:grpSpPr>
          <a:xfrm>
            <a:off x="459198" y="1839777"/>
            <a:ext cx="11445659" cy="4156922"/>
            <a:chOff x="497298" y="2118732"/>
            <a:chExt cx="11445659" cy="4156922"/>
          </a:xfrm>
        </p:grpSpPr>
        <p:sp>
          <p:nvSpPr>
            <p:cNvPr id="75" name="Rectangle 74"/>
            <p:cNvSpPr/>
            <p:nvPr/>
          </p:nvSpPr>
          <p:spPr bwMode="auto">
            <a:xfrm>
              <a:off x="1814761" y="2118732"/>
              <a:ext cx="1904712" cy="35548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bwMode="auto">
            <a:xfrm>
              <a:off x="497298" y="2118732"/>
              <a:ext cx="4798267" cy="3557239"/>
            </a:xfrm>
            <a:prstGeom prst="rect">
              <a:avLst/>
            </a:prstGeom>
            <a:noFill/>
            <a:ln w="57150">
              <a:solidFill>
                <a:schemeClr val="bg2"/>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8234951" y="2118732"/>
              <a:ext cx="3708006" cy="3557238"/>
            </a:xfrm>
            <a:prstGeom prst="rect">
              <a:avLst/>
            </a:prstGeom>
            <a:noFill/>
            <a:ln w="57150">
              <a:solidFill>
                <a:schemeClr val="bg2"/>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8" name="Group 77"/>
            <p:cNvGrpSpPr/>
            <p:nvPr/>
          </p:nvGrpSpPr>
          <p:grpSpPr>
            <a:xfrm>
              <a:off x="2495205" y="2856955"/>
              <a:ext cx="716363" cy="954029"/>
              <a:chOff x="8029848" y="2988220"/>
              <a:chExt cx="1014413" cy="1350963"/>
            </a:xfrm>
          </p:grpSpPr>
          <p:sp>
            <p:nvSpPr>
              <p:cNvPr id="128"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Oval 16"/>
              <p:cNvSpPr>
                <a:spLocks noChangeArrowheads="1"/>
              </p:cNvSpPr>
              <p:nvPr/>
            </p:nvSpPr>
            <p:spPr bwMode="auto">
              <a:xfrm>
                <a:off x="8520385" y="3526382"/>
                <a:ext cx="523875" cy="188913"/>
              </a:xfrm>
              <a:prstGeom prst="ellipse">
                <a:avLst/>
              </a:pr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78"/>
            <p:cNvGrpSpPr/>
            <p:nvPr/>
          </p:nvGrpSpPr>
          <p:grpSpPr>
            <a:xfrm>
              <a:off x="10474908" y="3857801"/>
              <a:ext cx="716363" cy="954029"/>
              <a:chOff x="8029848" y="2988220"/>
              <a:chExt cx="1014413" cy="1350963"/>
            </a:xfrm>
          </p:grpSpPr>
          <p:sp>
            <p:nvSpPr>
              <p:cNvPr id="123"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Oval 16"/>
              <p:cNvSpPr>
                <a:spLocks noChangeArrowheads="1"/>
              </p:cNvSpPr>
              <p:nvPr/>
            </p:nvSpPr>
            <p:spPr bwMode="auto">
              <a:xfrm>
                <a:off x="8520385" y="3526382"/>
                <a:ext cx="523875" cy="188913"/>
              </a:xfrm>
              <a:prstGeom prst="ellipse">
                <a:avLst/>
              </a:pr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0" name="Group 4"/>
            <p:cNvGrpSpPr>
              <a:grpSpLocks noChangeAspect="1"/>
            </p:cNvGrpSpPr>
            <p:nvPr/>
          </p:nvGrpSpPr>
          <p:grpSpPr bwMode="auto">
            <a:xfrm>
              <a:off x="786827" y="3881437"/>
              <a:ext cx="823461" cy="1017703"/>
              <a:chOff x="888" y="2533"/>
              <a:chExt cx="797" cy="985"/>
            </a:xfrm>
            <a:solidFill>
              <a:schemeClr val="tx2">
                <a:lumMod val="75000"/>
              </a:schemeClr>
            </a:solidFill>
          </p:grpSpPr>
          <p:sp>
            <p:nvSpPr>
              <p:cNvPr id="120" name="Freeform 7"/>
              <p:cNvSpPr>
                <a:spLocks/>
              </p:cNvSpPr>
              <p:nvPr/>
            </p:nvSpPr>
            <p:spPr bwMode="auto">
              <a:xfrm>
                <a:off x="1070" y="3006"/>
                <a:ext cx="615" cy="509"/>
              </a:xfrm>
              <a:custGeom>
                <a:avLst/>
                <a:gdLst>
                  <a:gd name="T0" fmla="*/ 21 w 408"/>
                  <a:gd name="T1" fmla="*/ 339 h 339"/>
                  <a:gd name="T2" fmla="*/ 7 w 408"/>
                  <a:gd name="T3" fmla="*/ 316 h 339"/>
                  <a:gd name="T4" fmla="*/ 190 w 408"/>
                  <a:gd name="T5" fmla="*/ 13 h 339"/>
                  <a:gd name="T6" fmla="*/ 218 w 408"/>
                  <a:gd name="T7" fmla="*/ 13 h 339"/>
                  <a:gd name="T8" fmla="*/ 401 w 408"/>
                  <a:gd name="T9" fmla="*/ 316 h 339"/>
                  <a:gd name="T10" fmla="*/ 387 w 408"/>
                  <a:gd name="T11" fmla="*/ 339 h 339"/>
                  <a:gd name="T12" fmla="*/ 21 w 408"/>
                  <a:gd name="T13" fmla="*/ 339 h 339"/>
                </a:gdLst>
                <a:ahLst/>
                <a:cxnLst>
                  <a:cxn ang="0">
                    <a:pos x="T0" y="T1"/>
                  </a:cxn>
                  <a:cxn ang="0">
                    <a:pos x="T2" y="T3"/>
                  </a:cxn>
                  <a:cxn ang="0">
                    <a:pos x="T4" y="T5"/>
                  </a:cxn>
                  <a:cxn ang="0">
                    <a:pos x="T6" y="T7"/>
                  </a:cxn>
                  <a:cxn ang="0">
                    <a:pos x="T8" y="T9"/>
                  </a:cxn>
                  <a:cxn ang="0">
                    <a:pos x="T10" y="T11"/>
                  </a:cxn>
                  <a:cxn ang="0">
                    <a:pos x="T12" y="T13"/>
                  </a:cxn>
                </a:cxnLst>
                <a:rect l="0" t="0" r="r" b="b"/>
                <a:pathLst>
                  <a:path w="408" h="339">
                    <a:moveTo>
                      <a:pt x="21" y="339"/>
                    </a:moveTo>
                    <a:cubicBezTo>
                      <a:pt x="6" y="339"/>
                      <a:pt x="0" y="329"/>
                      <a:pt x="7" y="316"/>
                    </a:cubicBezTo>
                    <a:lnTo>
                      <a:pt x="190" y="13"/>
                    </a:lnTo>
                    <a:cubicBezTo>
                      <a:pt x="198" y="0"/>
                      <a:pt x="210" y="0"/>
                      <a:pt x="218" y="13"/>
                    </a:cubicBezTo>
                    <a:lnTo>
                      <a:pt x="401" y="316"/>
                    </a:lnTo>
                    <a:cubicBezTo>
                      <a:pt x="408" y="329"/>
                      <a:pt x="402" y="339"/>
                      <a:pt x="387" y="339"/>
                    </a:cubicBezTo>
                    <a:lnTo>
                      <a:pt x="21" y="339"/>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8"/>
              <p:cNvSpPr>
                <a:spLocks/>
              </p:cNvSpPr>
              <p:nvPr/>
            </p:nvSpPr>
            <p:spPr bwMode="auto">
              <a:xfrm>
                <a:off x="1227" y="3206"/>
                <a:ext cx="313" cy="264"/>
              </a:xfrm>
              <a:custGeom>
                <a:avLst/>
                <a:gdLst>
                  <a:gd name="T0" fmla="*/ 265 w 313"/>
                  <a:gd name="T1" fmla="*/ 192 h 264"/>
                  <a:gd name="T2" fmla="*/ 265 w 313"/>
                  <a:gd name="T3" fmla="*/ 120 h 264"/>
                  <a:gd name="T4" fmla="*/ 169 w 313"/>
                  <a:gd name="T5" fmla="*/ 120 h 264"/>
                  <a:gd name="T6" fmla="*/ 169 w 313"/>
                  <a:gd name="T7" fmla="*/ 72 h 264"/>
                  <a:gd name="T8" fmla="*/ 217 w 313"/>
                  <a:gd name="T9" fmla="*/ 72 h 264"/>
                  <a:gd name="T10" fmla="*/ 217 w 313"/>
                  <a:gd name="T11" fmla="*/ 0 h 264"/>
                  <a:gd name="T12" fmla="*/ 96 w 313"/>
                  <a:gd name="T13" fmla="*/ 0 h 264"/>
                  <a:gd name="T14" fmla="*/ 96 w 313"/>
                  <a:gd name="T15" fmla="*/ 72 h 264"/>
                  <a:gd name="T16" fmla="*/ 144 w 313"/>
                  <a:gd name="T17" fmla="*/ 72 h 264"/>
                  <a:gd name="T18" fmla="*/ 144 w 313"/>
                  <a:gd name="T19" fmla="*/ 120 h 264"/>
                  <a:gd name="T20" fmla="*/ 48 w 313"/>
                  <a:gd name="T21" fmla="*/ 120 h 264"/>
                  <a:gd name="T22" fmla="*/ 48 w 313"/>
                  <a:gd name="T23" fmla="*/ 192 h 264"/>
                  <a:gd name="T24" fmla="*/ 0 w 313"/>
                  <a:gd name="T25" fmla="*/ 192 h 264"/>
                  <a:gd name="T26" fmla="*/ 0 w 313"/>
                  <a:gd name="T27" fmla="*/ 264 h 264"/>
                  <a:gd name="T28" fmla="*/ 120 w 313"/>
                  <a:gd name="T29" fmla="*/ 264 h 264"/>
                  <a:gd name="T30" fmla="*/ 120 w 313"/>
                  <a:gd name="T31" fmla="*/ 192 h 264"/>
                  <a:gd name="T32" fmla="*/ 72 w 313"/>
                  <a:gd name="T33" fmla="*/ 192 h 264"/>
                  <a:gd name="T34" fmla="*/ 72 w 313"/>
                  <a:gd name="T35" fmla="*/ 144 h 264"/>
                  <a:gd name="T36" fmla="*/ 241 w 313"/>
                  <a:gd name="T37" fmla="*/ 144 h 264"/>
                  <a:gd name="T38" fmla="*/ 241 w 313"/>
                  <a:gd name="T39" fmla="*/ 192 h 264"/>
                  <a:gd name="T40" fmla="*/ 193 w 313"/>
                  <a:gd name="T41" fmla="*/ 192 h 264"/>
                  <a:gd name="T42" fmla="*/ 193 w 313"/>
                  <a:gd name="T43" fmla="*/ 264 h 264"/>
                  <a:gd name="T44" fmla="*/ 313 w 313"/>
                  <a:gd name="T45" fmla="*/ 264 h 264"/>
                  <a:gd name="T46" fmla="*/ 313 w 313"/>
                  <a:gd name="T47" fmla="*/ 192 h 264"/>
                  <a:gd name="T48" fmla="*/ 265 w 313"/>
                  <a:gd name="T49" fmla="*/ 19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3" h="264">
                    <a:moveTo>
                      <a:pt x="265" y="192"/>
                    </a:moveTo>
                    <a:lnTo>
                      <a:pt x="265" y="120"/>
                    </a:lnTo>
                    <a:lnTo>
                      <a:pt x="169" y="120"/>
                    </a:lnTo>
                    <a:lnTo>
                      <a:pt x="169" y="72"/>
                    </a:lnTo>
                    <a:lnTo>
                      <a:pt x="217" y="72"/>
                    </a:lnTo>
                    <a:lnTo>
                      <a:pt x="217" y="0"/>
                    </a:lnTo>
                    <a:lnTo>
                      <a:pt x="96" y="0"/>
                    </a:lnTo>
                    <a:lnTo>
                      <a:pt x="96" y="72"/>
                    </a:lnTo>
                    <a:lnTo>
                      <a:pt x="144" y="72"/>
                    </a:lnTo>
                    <a:lnTo>
                      <a:pt x="144" y="120"/>
                    </a:lnTo>
                    <a:lnTo>
                      <a:pt x="48" y="120"/>
                    </a:lnTo>
                    <a:lnTo>
                      <a:pt x="48" y="192"/>
                    </a:lnTo>
                    <a:lnTo>
                      <a:pt x="0" y="192"/>
                    </a:lnTo>
                    <a:lnTo>
                      <a:pt x="0" y="264"/>
                    </a:lnTo>
                    <a:lnTo>
                      <a:pt x="120" y="264"/>
                    </a:lnTo>
                    <a:lnTo>
                      <a:pt x="120" y="192"/>
                    </a:lnTo>
                    <a:lnTo>
                      <a:pt x="72" y="192"/>
                    </a:lnTo>
                    <a:lnTo>
                      <a:pt x="72" y="144"/>
                    </a:lnTo>
                    <a:lnTo>
                      <a:pt x="241" y="144"/>
                    </a:lnTo>
                    <a:lnTo>
                      <a:pt x="241" y="192"/>
                    </a:lnTo>
                    <a:lnTo>
                      <a:pt x="193" y="192"/>
                    </a:lnTo>
                    <a:lnTo>
                      <a:pt x="193" y="264"/>
                    </a:lnTo>
                    <a:lnTo>
                      <a:pt x="313" y="264"/>
                    </a:lnTo>
                    <a:lnTo>
                      <a:pt x="313" y="192"/>
                    </a:lnTo>
                    <a:lnTo>
                      <a:pt x="265" y="1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9"/>
              <p:cNvSpPr>
                <a:spLocks noEditPoints="1"/>
              </p:cNvSpPr>
              <p:nvPr/>
            </p:nvSpPr>
            <p:spPr bwMode="auto">
              <a:xfrm>
                <a:off x="888" y="2533"/>
                <a:ext cx="483" cy="985"/>
              </a:xfrm>
              <a:custGeom>
                <a:avLst/>
                <a:gdLst>
                  <a:gd name="T0" fmla="*/ 95 w 320"/>
                  <a:gd name="T1" fmla="*/ 636 h 656"/>
                  <a:gd name="T2" fmla="*/ 121 w 320"/>
                  <a:gd name="T3" fmla="*/ 592 h 656"/>
                  <a:gd name="T4" fmla="*/ 48 w 320"/>
                  <a:gd name="T5" fmla="*/ 592 h 656"/>
                  <a:gd name="T6" fmla="*/ 48 w 320"/>
                  <a:gd name="T7" fmla="*/ 560 h 656"/>
                  <a:gd name="T8" fmla="*/ 141 w 320"/>
                  <a:gd name="T9" fmla="*/ 560 h 656"/>
                  <a:gd name="T10" fmla="*/ 160 w 320"/>
                  <a:gd name="T11" fmla="*/ 528 h 656"/>
                  <a:gd name="T12" fmla="*/ 48 w 320"/>
                  <a:gd name="T13" fmla="*/ 528 h 656"/>
                  <a:gd name="T14" fmla="*/ 48 w 320"/>
                  <a:gd name="T15" fmla="*/ 496 h 656"/>
                  <a:gd name="T16" fmla="*/ 179 w 320"/>
                  <a:gd name="T17" fmla="*/ 496 h 656"/>
                  <a:gd name="T18" fmla="*/ 293 w 320"/>
                  <a:gd name="T19" fmla="*/ 308 h 656"/>
                  <a:gd name="T20" fmla="*/ 320 w 320"/>
                  <a:gd name="T21" fmla="*/ 289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89 w 320"/>
                  <a:gd name="T33" fmla="*/ 656 h 656"/>
                  <a:gd name="T34" fmla="*/ 95 w 320"/>
                  <a:gd name="T35" fmla="*/ 636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95" y="636"/>
                    </a:moveTo>
                    <a:lnTo>
                      <a:pt x="121" y="592"/>
                    </a:lnTo>
                    <a:lnTo>
                      <a:pt x="48" y="592"/>
                    </a:lnTo>
                    <a:lnTo>
                      <a:pt x="48" y="560"/>
                    </a:lnTo>
                    <a:lnTo>
                      <a:pt x="141" y="560"/>
                    </a:lnTo>
                    <a:lnTo>
                      <a:pt x="160" y="528"/>
                    </a:lnTo>
                    <a:lnTo>
                      <a:pt x="48" y="528"/>
                    </a:lnTo>
                    <a:lnTo>
                      <a:pt x="48" y="496"/>
                    </a:lnTo>
                    <a:lnTo>
                      <a:pt x="179" y="496"/>
                    </a:lnTo>
                    <a:lnTo>
                      <a:pt x="293" y="308"/>
                    </a:lnTo>
                    <a:cubicBezTo>
                      <a:pt x="299" y="297"/>
                      <a:pt x="309" y="291"/>
                      <a:pt x="320" y="289"/>
                    </a:cubicBezTo>
                    <a:lnTo>
                      <a:pt x="320" y="32"/>
                    </a:lnTo>
                    <a:cubicBezTo>
                      <a:pt x="320" y="14"/>
                      <a:pt x="306" y="0"/>
                      <a:pt x="288" y="0"/>
                    </a:cubicBezTo>
                    <a:lnTo>
                      <a:pt x="32" y="0"/>
                    </a:lnTo>
                    <a:cubicBezTo>
                      <a:pt x="14" y="0"/>
                      <a:pt x="0" y="14"/>
                      <a:pt x="0" y="32"/>
                    </a:cubicBezTo>
                    <a:lnTo>
                      <a:pt x="0" y="656"/>
                    </a:lnTo>
                    <a:lnTo>
                      <a:pt x="89" y="656"/>
                    </a:lnTo>
                    <a:cubicBezTo>
                      <a:pt x="89" y="650"/>
                      <a:pt x="91" y="642"/>
                      <a:pt x="95" y="636"/>
                    </a:cubicBezTo>
                    <a:close/>
                    <a:moveTo>
                      <a:pt x="48" y="96"/>
                    </a:moveTo>
                    <a:lnTo>
                      <a:pt x="272" y="96"/>
                    </a:lnTo>
                    <a:lnTo>
                      <a:pt x="272" y="128"/>
                    </a:lnTo>
                    <a:lnTo>
                      <a:pt x="48" y="128"/>
                    </a:lnTo>
                    <a:lnTo>
                      <a:pt x="48" y="96"/>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 name="Group 81"/>
            <p:cNvGrpSpPr/>
            <p:nvPr/>
          </p:nvGrpSpPr>
          <p:grpSpPr>
            <a:xfrm>
              <a:off x="3947834" y="4075455"/>
              <a:ext cx="1066800" cy="549275"/>
              <a:chOff x="5922103" y="3284089"/>
              <a:chExt cx="1066800" cy="549275"/>
            </a:xfrm>
          </p:grpSpPr>
          <p:sp>
            <p:nvSpPr>
              <p:cNvPr id="118" name="Freeform 19"/>
              <p:cNvSpPr>
                <a:spLocks noEditPoints="1"/>
              </p:cNvSpPr>
              <p:nvPr/>
            </p:nvSpPr>
            <p:spPr bwMode="auto">
              <a:xfrm>
                <a:off x="5922103" y="3558726"/>
                <a:ext cx="1066800" cy="274638"/>
              </a:xfrm>
              <a:custGeom>
                <a:avLst/>
                <a:gdLst>
                  <a:gd name="T0" fmla="*/ 594 w 624"/>
                  <a:gd name="T1" fmla="*/ 0 h 160"/>
                  <a:gd name="T2" fmla="*/ 30 w 624"/>
                  <a:gd name="T3" fmla="*/ 0 h 160"/>
                  <a:gd name="T4" fmla="*/ 0 w 624"/>
                  <a:gd name="T5" fmla="*/ 23 h 160"/>
                  <a:gd name="T6" fmla="*/ 0 w 624"/>
                  <a:gd name="T7" fmla="*/ 138 h 160"/>
                  <a:gd name="T8" fmla="*/ 30 w 624"/>
                  <a:gd name="T9" fmla="*/ 160 h 160"/>
                  <a:gd name="T10" fmla="*/ 594 w 624"/>
                  <a:gd name="T11" fmla="*/ 160 h 160"/>
                  <a:gd name="T12" fmla="*/ 624 w 624"/>
                  <a:gd name="T13" fmla="*/ 138 h 160"/>
                  <a:gd name="T14" fmla="*/ 624 w 624"/>
                  <a:gd name="T15" fmla="*/ 23 h 160"/>
                  <a:gd name="T16" fmla="*/ 594 w 624"/>
                  <a:gd name="T17" fmla="*/ 0 h 160"/>
                  <a:gd name="T18" fmla="*/ 96 w 624"/>
                  <a:gd name="T19" fmla="*/ 112 h 160"/>
                  <a:gd name="T20" fmla="*/ 64 w 624"/>
                  <a:gd name="T21" fmla="*/ 80 h 160"/>
                  <a:gd name="T22" fmla="*/ 96 w 624"/>
                  <a:gd name="T23" fmla="*/ 48 h 160"/>
                  <a:gd name="T24" fmla="*/ 128 w 624"/>
                  <a:gd name="T25" fmla="*/ 80 h 160"/>
                  <a:gd name="T26" fmla="*/ 96 w 624"/>
                  <a:gd name="T27" fmla="*/ 112 h 160"/>
                  <a:gd name="T28" fmla="*/ 240 w 624"/>
                  <a:gd name="T29" fmla="*/ 112 h 160"/>
                  <a:gd name="T30" fmla="*/ 208 w 624"/>
                  <a:gd name="T31" fmla="*/ 80 h 160"/>
                  <a:gd name="T32" fmla="*/ 240 w 624"/>
                  <a:gd name="T33" fmla="*/ 48 h 160"/>
                  <a:gd name="T34" fmla="*/ 272 w 624"/>
                  <a:gd name="T35" fmla="*/ 80 h 160"/>
                  <a:gd name="T36" fmla="*/ 240 w 624"/>
                  <a:gd name="T37" fmla="*/ 112 h 160"/>
                  <a:gd name="T38" fmla="*/ 384 w 624"/>
                  <a:gd name="T39" fmla="*/ 112 h 160"/>
                  <a:gd name="T40" fmla="*/ 352 w 624"/>
                  <a:gd name="T41" fmla="*/ 80 h 160"/>
                  <a:gd name="T42" fmla="*/ 384 w 624"/>
                  <a:gd name="T43" fmla="*/ 48 h 160"/>
                  <a:gd name="T44" fmla="*/ 416 w 624"/>
                  <a:gd name="T45" fmla="*/ 80 h 160"/>
                  <a:gd name="T46" fmla="*/ 384 w 624"/>
                  <a:gd name="T47" fmla="*/ 112 h 160"/>
                  <a:gd name="T48" fmla="*/ 528 w 624"/>
                  <a:gd name="T49" fmla="*/ 112 h 160"/>
                  <a:gd name="T50" fmla="*/ 496 w 624"/>
                  <a:gd name="T51" fmla="*/ 80 h 160"/>
                  <a:gd name="T52" fmla="*/ 528 w 624"/>
                  <a:gd name="T53" fmla="*/ 48 h 160"/>
                  <a:gd name="T54" fmla="*/ 560 w 624"/>
                  <a:gd name="T55" fmla="*/ 80 h 160"/>
                  <a:gd name="T56" fmla="*/ 528 w 624"/>
                  <a:gd name="T57" fmla="*/ 1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4" h="160">
                    <a:moveTo>
                      <a:pt x="594" y="0"/>
                    </a:moveTo>
                    <a:lnTo>
                      <a:pt x="30" y="0"/>
                    </a:lnTo>
                    <a:cubicBezTo>
                      <a:pt x="13" y="0"/>
                      <a:pt x="0" y="11"/>
                      <a:pt x="0" y="23"/>
                    </a:cubicBezTo>
                    <a:lnTo>
                      <a:pt x="0" y="138"/>
                    </a:lnTo>
                    <a:cubicBezTo>
                      <a:pt x="0" y="150"/>
                      <a:pt x="13" y="160"/>
                      <a:pt x="30" y="160"/>
                    </a:cubicBezTo>
                    <a:lnTo>
                      <a:pt x="594" y="160"/>
                    </a:lnTo>
                    <a:cubicBezTo>
                      <a:pt x="610" y="160"/>
                      <a:pt x="624" y="150"/>
                      <a:pt x="624" y="138"/>
                    </a:cubicBezTo>
                    <a:lnTo>
                      <a:pt x="624" y="23"/>
                    </a:lnTo>
                    <a:cubicBezTo>
                      <a:pt x="624" y="11"/>
                      <a:pt x="610" y="0"/>
                      <a:pt x="594" y="0"/>
                    </a:cubicBezTo>
                    <a:close/>
                    <a:moveTo>
                      <a:pt x="96" y="112"/>
                    </a:moveTo>
                    <a:cubicBezTo>
                      <a:pt x="78" y="112"/>
                      <a:pt x="64" y="98"/>
                      <a:pt x="64" y="80"/>
                    </a:cubicBezTo>
                    <a:cubicBezTo>
                      <a:pt x="64" y="63"/>
                      <a:pt x="78" y="48"/>
                      <a:pt x="96" y="48"/>
                    </a:cubicBezTo>
                    <a:cubicBezTo>
                      <a:pt x="113" y="48"/>
                      <a:pt x="128" y="63"/>
                      <a:pt x="128" y="80"/>
                    </a:cubicBezTo>
                    <a:cubicBezTo>
                      <a:pt x="128" y="98"/>
                      <a:pt x="113" y="112"/>
                      <a:pt x="96" y="112"/>
                    </a:cubicBezTo>
                    <a:close/>
                    <a:moveTo>
                      <a:pt x="240" y="112"/>
                    </a:moveTo>
                    <a:cubicBezTo>
                      <a:pt x="222" y="112"/>
                      <a:pt x="208" y="98"/>
                      <a:pt x="208" y="80"/>
                    </a:cubicBezTo>
                    <a:cubicBezTo>
                      <a:pt x="208" y="63"/>
                      <a:pt x="222" y="48"/>
                      <a:pt x="240" y="48"/>
                    </a:cubicBezTo>
                    <a:cubicBezTo>
                      <a:pt x="257" y="48"/>
                      <a:pt x="272" y="63"/>
                      <a:pt x="272" y="80"/>
                    </a:cubicBezTo>
                    <a:cubicBezTo>
                      <a:pt x="272" y="98"/>
                      <a:pt x="257" y="112"/>
                      <a:pt x="240" y="112"/>
                    </a:cubicBezTo>
                    <a:close/>
                    <a:moveTo>
                      <a:pt x="384" y="112"/>
                    </a:moveTo>
                    <a:cubicBezTo>
                      <a:pt x="366" y="112"/>
                      <a:pt x="352" y="98"/>
                      <a:pt x="352" y="80"/>
                    </a:cubicBezTo>
                    <a:cubicBezTo>
                      <a:pt x="352" y="63"/>
                      <a:pt x="366" y="48"/>
                      <a:pt x="384" y="48"/>
                    </a:cubicBezTo>
                    <a:cubicBezTo>
                      <a:pt x="401" y="48"/>
                      <a:pt x="416" y="63"/>
                      <a:pt x="416" y="80"/>
                    </a:cubicBezTo>
                    <a:cubicBezTo>
                      <a:pt x="416" y="98"/>
                      <a:pt x="401" y="112"/>
                      <a:pt x="384" y="112"/>
                    </a:cubicBezTo>
                    <a:close/>
                    <a:moveTo>
                      <a:pt x="528" y="112"/>
                    </a:moveTo>
                    <a:cubicBezTo>
                      <a:pt x="510" y="112"/>
                      <a:pt x="496" y="98"/>
                      <a:pt x="496" y="80"/>
                    </a:cubicBezTo>
                    <a:cubicBezTo>
                      <a:pt x="496" y="63"/>
                      <a:pt x="510" y="48"/>
                      <a:pt x="528" y="48"/>
                    </a:cubicBezTo>
                    <a:cubicBezTo>
                      <a:pt x="545" y="48"/>
                      <a:pt x="560" y="63"/>
                      <a:pt x="560" y="80"/>
                    </a:cubicBezTo>
                    <a:cubicBezTo>
                      <a:pt x="560" y="98"/>
                      <a:pt x="545" y="112"/>
                      <a:pt x="528" y="112"/>
                    </a:cubicBez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0"/>
              <p:cNvSpPr>
                <a:spLocks/>
              </p:cNvSpPr>
              <p:nvPr/>
            </p:nvSpPr>
            <p:spPr bwMode="auto">
              <a:xfrm>
                <a:off x="5922103" y="3284089"/>
                <a:ext cx="1066800" cy="192088"/>
              </a:xfrm>
              <a:custGeom>
                <a:avLst/>
                <a:gdLst>
                  <a:gd name="T0" fmla="*/ 547 w 672"/>
                  <a:gd name="T1" fmla="*/ 0 h 121"/>
                  <a:gd name="T2" fmla="*/ 124 w 672"/>
                  <a:gd name="T3" fmla="*/ 0 h 121"/>
                  <a:gd name="T4" fmla="*/ 0 w 672"/>
                  <a:gd name="T5" fmla="*/ 121 h 121"/>
                  <a:gd name="T6" fmla="*/ 672 w 672"/>
                  <a:gd name="T7" fmla="*/ 121 h 121"/>
                  <a:gd name="T8" fmla="*/ 547 w 672"/>
                  <a:gd name="T9" fmla="*/ 0 h 121"/>
                </a:gdLst>
                <a:ahLst/>
                <a:cxnLst>
                  <a:cxn ang="0">
                    <a:pos x="T0" y="T1"/>
                  </a:cxn>
                  <a:cxn ang="0">
                    <a:pos x="T2" y="T3"/>
                  </a:cxn>
                  <a:cxn ang="0">
                    <a:pos x="T4" y="T5"/>
                  </a:cxn>
                  <a:cxn ang="0">
                    <a:pos x="T6" y="T7"/>
                  </a:cxn>
                  <a:cxn ang="0">
                    <a:pos x="T8" y="T9"/>
                  </a:cxn>
                </a:cxnLst>
                <a:rect l="0" t="0" r="r" b="b"/>
                <a:pathLst>
                  <a:path w="672" h="121">
                    <a:moveTo>
                      <a:pt x="547" y="0"/>
                    </a:moveTo>
                    <a:lnTo>
                      <a:pt x="124" y="0"/>
                    </a:lnTo>
                    <a:lnTo>
                      <a:pt x="0" y="121"/>
                    </a:lnTo>
                    <a:lnTo>
                      <a:pt x="672" y="121"/>
                    </a:lnTo>
                    <a:lnTo>
                      <a:pt x="547" y="0"/>
                    </a:lnTo>
                    <a:close/>
                  </a:path>
                </a:pathLst>
              </a:custGeom>
              <a:solidFill>
                <a:schemeClr val="accent5">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3" name="Group 24"/>
            <p:cNvGrpSpPr>
              <a:grpSpLocks noChangeAspect="1"/>
            </p:cNvGrpSpPr>
            <p:nvPr/>
          </p:nvGrpSpPr>
          <p:grpSpPr bwMode="auto">
            <a:xfrm>
              <a:off x="5477789" y="4191990"/>
              <a:ext cx="2582674" cy="562349"/>
              <a:chOff x="3432" y="3444"/>
              <a:chExt cx="2498" cy="496"/>
            </a:xfrm>
          </p:grpSpPr>
          <p:sp>
            <p:nvSpPr>
              <p:cNvPr id="114" name="AutoShape 23"/>
              <p:cNvSpPr>
                <a:spLocks noChangeAspect="1" noChangeArrowheads="1" noTextEdit="1"/>
              </p:cNvSpPr>
              <p:nvPr/>
            </p:nvSpPr>
            <p:spPr bwMode="auto">
              <a:xfrm>
                <a:off x="3432" y="3444"/>
                <a:ext cx="2498"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Oval 25"/>
              <p:cNvSpPr>
                <a:spLocks noChangeArrowheads="1"/>
              </p:cNvSpPr>
              <p:nvPr/>
            </p:nvSpPr>
            <p:spPr bwMode="auto">
              <a:xfrm>
                <a:off x="3432" y="3443"/>
                <a:ext cx="243" cy="496"/>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26"/>
              <p:cNvSpPr>
                <a:spLocks noChangeArrowheads="1"/>
              </p:cNvSpPr>
              <p:nvPr/>
            </p:nvSpPr>
            <p:spPr bwMode="auto">
              <a:xfrm>
                <a:off x="3553" y="3443"/>
                <a:ext cx="2256" cy="496"/>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Oval 27"/>
              <p:cNvSpPr>
                <a:spLocks noChangeArrowheads="1"/>
              </p:cNvSpPr>
              <p:nvPr/>
            </p:nvSpPr>
            <p:spPr bwMode="auto">
              <a:xfrm>
                <a:off x="5687" y="3443"/>
                <a:ext cx="242" cy="496"/>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TextBox 83"/>
            <p:cNvSpPr txBox="1"/>
            <p:nvPr/>
          </p:nvSpPr>
          <p:spPr>
            <a:xfrm>
              <a:off x="3757869" y="4854979"/>
              <a:ext cx="1488228"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chemeClr val="tx1"/>
                      </a:gs>
                      <a:gs pos="30000">
                        <a:schemeClr val="tx1"/>
                      </a:gs>
                    </a:gsLst>
                    <a:lin ang="5400000" scaled="0"/>
                  </a:gradFill>
                </a:rPr>
                <a:t>VPN Device</a:t>
              </a:r>
            </a:p>
          </p:txBody>
        </p:sp>
        <p:sp>
          <p:nvSpPr>
            <p:cNvPr id="85" name="TextBox 84"/>
            <p:cNvSpPr txBox="1"/>
            <p:nvPr/>
          </p:nvSpPr>
          <p:spPr>
            <a:xfrm>
              <a:off x="8426357" y="4854979"/>
              <a:ext cx="1681358" cy="517065"/>
            </a:xfrm>
            <a:prstGeom prst="rect">
              <a:avLst/>
            </a:prstGeom>
            <a:noFill/>
          </p:spPr>
          <p:txBody>
            <a:bodyPr wrap="none" lIns="182880" tIns="146304" rIns="182880" bIns="146304" rtlCol="0">
              <a:spAutoFit/>
            </a:bodyPr>
            <a:lstStyle/>
            <a:p>
              <a:pPr>
                <a:lnSpc>
                  <a:spcPct val="90000"/>
                </a:lnSpc>
                <a:spcAft>
                  <a:spcPts val="600"/>
                </a:spcAft>
              </a:pPr>
              <a:r>
                <a:rPr lang="en-US" sz="1600" b="1" dirty="0" smtClean="0">
                  <a:gradFill>
                    <a:gsLst>
                      <a:gs pos="2917">
                        <a:schemeClr val="tx1"/>
                      </a:gs>
                      <a:gs pos="30000">
                        <a:schemeClr val="tx1"/>
                      </a:gs>
                    </a:gsLst>
                    <a:lin ang="5400000" scaled="0"/>
                  </a:gradFill>
                </a:rPr>
                <a:t>VPN Gateway</a:t>
              </a:r>
            </a:p>
          </p:txBody>
        </p:sp>
        <p:cxnSp>
          <p:nvCxnSpPr>
            <p:cNvPr id="87" name="Straight Connector 86"/>
            <p:cNvCxnSpPr/>
            <p:nvPr/>
          </p:nvCxnSpPr>
          <p:spPr>
            <a:xfrm>
              <a:off x="2797790" y="3929117"/>
              <a:ext cx="0" cy="461172"/>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3007867" y="4485105"/>
              <a:ext cx="869240" cy="1"/>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9588104" y="4485104"/>
              <a:ext cx="817345" cy="0"/>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887582" y="3005265"/>
              <a:ext cx="63062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S1</a:t>
              </a:r>
            </a:p>
          </p:txBody>
        </p:sp>
        <p:sp>
          <p:nvSpPr>
            <p:cNvPr id="96" name="TextBox 95"/>
            <p:cNvSpPr txBox="1"/>
            <p:nvPr/>
          </p:nvSpPr>
          <p:spPr>
            <a:xfrm>
              <a:off x="11150378" y="4179390"/>
              <a:ext cx="699550"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S2</a:t>
              </a:r>
            </a:p>
          </p:txBody>
        </p:sp>
        <p:sp>
          <p:nvSpPr>
            <p:cNvPr id="97" name="TextBox 96"/>
            <p:cNvSpPr txBox="1"/>
            <p:nvPr/>
          </p:nvSpPr>
          <p:spPr>
            <a:xfrm>
              <a:off x="1817778" y="2261363"/>
              <a:ext cx="1960024"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vailability Group</a:t>
              </a:r>
            </a:p>
          </p:txBody>
        </p:sp>
        <p:sp>
          <p:nvSpPr>
            <p:cNvPr id="98" name="TextBox 97"/>
            <p:cNvSpPr txBox="1"/>
            <p:nvPr/>
          </p:nvSpPr>
          <p:spPr>
            <a:xfrm>
              <a:off x="9039217" y="2261363"/>
              <a:ext cx="1967077"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solidFill>
                    <a:schemeClr val="tx2"/>
                  </a:solidFill>
                </a:rPr>
                <a:t>Virtual Network</a:t>
              </a:r>
            </a:p>
          </p:txBody>
        </p:sp>
        <p:grpSp>
          <p:nvGrpSpPr>
            <p:cNvPr id="99" name="Group 98"/>
            <p:cNvGrpSpPr/>
            <p:nvPr/>
          </p:nvGrpSpPr>
          <p:grpSpPr>
            <a:xfrm>
              <a:off x="2495206" y="4294521"/>
              <a:ext cx="716363" cy="954029"/>
              <a:chOff x="8029848" y="2988220"/>
              <a:chExt cx="1014413" cy="1350963"/>
            </a:xfrm>
          </p:grpSpPr>
          <p:sp>
            <p:nvSpPr>
              <p:cNvPr id="109" name="Freeform 13"/>
              <p:cNvSpPr>
                <a:spLocks noEditPoints="1"/>
              </p:cNvSpPr>
              <p:nvPr/>
            </p:nvSpPr>
            <p:spPr bwMode="auto">
              <a:xfrm>
                <a:off x="8029848" y="2989807"/>
                <a:ext cx="1014413" cy="1349375"/>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14"/>
              <p:cNvSpPr>
                <a:spLocks noEditPoints="1"/>
              </p:cNvSpPr>
              <p:nvPr/>
            </p:nvSpPr>
            <p:spPr bwMode="auto">
              <a:xfrm>
                <a:off x="8029848" y="2988220"/>
                <a:ext cx="1014413" cy="1350963"/>
              </a:xfrm>
              <a:custGeom>
                <a:avLst/>
                <a:gdLst>
                  <a:gd name="T0" fmla="*/ 368 w 496"/>
                  <a:gd name="T1" fmla="*/ 261 h 656"/>
                  <a:gd name="T2" fmla="*/ 319 w 496"/>
                  <a:gd name="T3" fmla="*/ 264 h 656"/>
                  <a:gd name="T4" fmla="*/ 320 w 496"/>
                  <a:gd name="T5" fmla="*/ 264 h 656"/>
                  <a:gd name="T6" fmla="*/ 320 w 496"/>
                  <a:gd name="T7" fmla="*/ 32 h 656"/>
                  <a:gd name="T8" fmla="*/ 288 w 496"/>
                  <a:gd name="T9" fmla="*/ 0 h 656"/>
                  <a:gd name="T10" fmla="*/ 32 w 496"/>
                  <a:gd name="T11" fmla="*/ 0 h 656"/>
                  <a:gd name="T12" fmla="*/ 0 w 496"/>
                  <a:gd name="T13" fmla="*/ 32 h 656"/>
                  <a:gd name="T14" fmla="*/ 0 w 496"/>
                  <a:gd name="T15" fmla="*/ 656 h 656"/>
                  <a:gd name="T16" fmla="*/ 324 w 496"/>
                  <a:gd name="T17" fmla="*/ 656 h 656"/>
                  <a:gd name="T18" fmla="*/ 319 w 496"/>
                  <a:gd name="T19" fmla="*/ 652 h 656"/>
                  <a:gd name="T20" fmla="*/ 368 w 496"/>
                  <a:gd name="T21" fmla="*/ 656 h 656"/>
                  <a:gd name="T22" fmla="*/ 496 w 496"/>
                  <a:gd name="T23" fmla="*/ 598 h 656"/>
                  <a:gd name="T24" fmla="*/ 496 w 496"/>
                  <a:gd name="T25" fmla="*/ 307 h 656"/>
                  <a:gd name="T26" fmla="*/ 368 w 496"/>
                  <a:gd name="T27" fmla="*/ 261 h 656"/>
                  <a:gd name="T28" fmla="*/ 311 w 496"/>
                  <a:gd name="T29" fmla="*/ 265 h 656"/>
                  <a:gd name="T30" fmla="*/ 309 w 496"/>
                  <a:gd name="T31" fmla="*/ 266 h 656"/>
                  <a:gd name="T32" fmla="*/ 311 w 496"/>
                  <a:gd name="T33" fmla="*/ 26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 h="656">
                    <a:moveTo>
                      <a:pt x="368" y="261"/>
                    </a:moveTo>
                    <a:cubicBezTo>
                      <a:pt x="350" y="261"/>
                      <a:pt x="334" y="262"/>
                      <a:pt x="319" y="264"/>
                    </a:cubicBezTo>
                    <a:cubicBezTo>
                      <a:pt x="319" y="264"/>
                      <a:pt x="319" y="264"/>
                      <a:pt x="320" y="264"/>
                    </a:cubicBezTo>
                    <a:lnTo>
                      <a:pt x="320" y="32"/>
                    </a:lnTo>
                    <a:cubicBezTo>
                      <a:pt x="320" y="14"/>
                      <a:pt x="305" y="0"/>
                      <a:pt x="288" y="0"/>
                    </a:cubicBezTo>
                    <a:lnTo>
                      <a:pt x="32" y="0"/>
                    </a:lnTo>
                    <a:cubicBezTo>
                      <a:pt x="14" y="0"/>
                      <a:pt x="0" y="14"/>
                      <a:pt x="0" y="32"/>
                    </a:cubicBezTo>
                    <a:lnTo>
                      <a:pt x="0" y="656"/>
                    </a:lnTo>
                    <a:lnTo>
                      <a:pt x="324" y="656"/>
                    </a:lnTo>
                    <a:cubicBezTo>
                      <a:pt x="323" y="655"/>
                      <a:pt x="321" y="654"/>
                      <a:pt x="319" y="652"/>
                    </a:cubicBezTo>
                    <a:cubicBezTo>
                      <a:pt x="334" y="655"/>
                      <a:pt x="350" y="656"/>
                      <a:pt x="368" y="656"/>
                    </a:cubicBezTo>
                    <a:cubicBezTo>
                      <a:pt x="438" y="656"/>
                      <a:pt x="496" y="630"/>
                      <a:pt x="496" y="598"/>
                    </a:cubicBezTo>
                    <a:cubicBezTo>
                      <a:pt x="496" y="598"/>
                      <a:pt x="496" y="312"/>
                      <a:pt x="496" y="307"/>
                    </a:cubicBezTo>
                    <a:cubicBezTo>
                      <a:pt x="496" y="281"/>
                      <a:pt x="438" y="261"/>
                      <a:pt x="368" y="261"/>
                    </a:cubicBezTo>
                    <a:close/>
                    <a:moveTo>
                      <a:pt x="311" y="265"/>
                    </a:moveTo>
                    <a:cubicBezTo>
                      <a:pt x="310" y="266"/>
                      <a:pt x="310" y="266"/>
                      <a:pt x="309" y="266"/>
                    </a:cubicBezTo>
                    <a:cubicBezTo>
                      <a:pt x="310" y="266"/>
                      <a:pt x="310" y="266"/>
                      <a:pt x="311" y="265"/>
                    </a:cubicBezTo>
                    <a:close/>
                  </a:path>
                </a:pathLst>
              </a:custGeom>
              <a:noFill/>
              <a:ln w="65088"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5"/>
              <p:cNvSpPr>
                <a:spLocks/>
              </p:cNvSpPr>
              <p:nvPr/>
            </p:nvSpPr>
            <p:spPr bwMode="auto">
              <a:xfrm>
                <a:off x="8520385" y="3688307"/>
                <a:ext cx="523875" cy="650875"/>
              </a:xfrm>
              <a:custGeom>
                <a:avLst/>
                <a:gdLst>
                  <a:gd name="T0" fmla="*/ 128 w 256"/>
                  <a:gd name="T1" fmla="*/ 31 h 316"/>
                  <a:gd name="T2" fmla="*/ 0 w 256"/>
                  <a:gd name="T3" fmla="*/ 0 h 316"/>
                  <a:gd name="T4" fmla="*/ 0 w 256"/>
                  <a:gd name="T5" fmla="*/ 258 h 316"/>
                  <a:gd name="T6" fmla="*/ 128 w 256"/>
                  <a:gd name="T7" fmla="*/ 316 h 316"/>
                  <a:gd name="T8" fmla="*/ 256 w 256"/>
                  <a:gd name="T9" fmla="*/ 258 h 316"/>
                  <a:gd name="T10" fmla="*/ 256 w 256"/>
                  <a:gd name="T11" fmla="*/ 0 h 316"/>
                  <a:gd name="T12" fmla="*/ 128 w 256"/>
                  <a:gd name="T13" fmla="*/ 31 h 316"/>
                </a:gdLst>
                <a:ahLst/>
                <a:cxnLst>
                  <a:cxn ang="0">
                    <a:pos x="T0" y="T1"/>
                  </a:cxn>
                  <a:cxn ang="0">
                    <a:pos x="T2" y="T3"/>
                  </a:cxn>
                  <a:cxn ang="0">
                    <a:pos x="T4" y="T5"/>
                  </a:cxn>
                  <a:cxn ang="0">
                    <a:pos x="T6" y="T7"/>
                  </a:cxn>
                  <a:cxn ang="0">
                    <a:pos x="T8" y="T9"/>
                  </a:cxn>
                  <a:cxn ang="0">
                    <a:pos x="T10" y="T11"/>
                  </a:cxn>
                  <a:cxn ang="0">
                    <a:pos x="T12" y="T13"/>
                  </a:cxn>
                </a:cxnLst>
                <a:rect l="0" t="0" r="r" b="b"/>
                <a:pathLst>
                  <a:path w="256" h="316">
                    <a:moveTo>
                      <a:pt x="128" y="31"/>
                    </a:moveTo>
                    <a:cubicBezTo>
                      <a:pt x="78" y="31"/>
                      <a:pt x="26" y="21"/>
                      <a:pt x="0" y="0"/>
                    </a:cubicBezTo>
                    <a:lnTo>
                      <a:pt x="0" y="258"/>
                    </a:lnTo>
                    <a:cubicBezTo>
                      <a:pt x="0" y="291"/>
                      <a:pt x="57" y="316"/>
                      <a:pt x="128" y="316"/>
                    </a:cubicBezTo>
                    <a:cubicBezTo>
                      <a:pt x="198" y="316"/>
                      <a:pt x="256" y="290"/>
                      <a:pt x="256" y="258"/>
                    </a:cubicBezTo>
                    <a:lnTo>
                      <a:pt x="256" y="0"/>
                    </a:lnTo>
                    <a:cubicBezTo>
                      <a:pt x="229" y="21"/>
                      <a:pt x="177" y="31"/>
                      <a:pt x="128" y="31"/>
                    </a:cubicBez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16"/>
              <p:cNvSpPr>
                <a:spLocks noChangeArrowheads="1"/>
              </p:cNvSpPr>
              <p:nvPr/>
            </p:nvSpPr>
            <p:spPr bwMode="auto">
              <a:xfrm>
                <a:off x="8520385" y="3526382"/>
                <a:ext cx="523875" cy="188913"/>
              </a:xfrm>
              <a:prstGeom prst="ellipse">
                <a:avLst/>
              </a:pr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17"/>
              <p:cNvSpPr>
                <a:spLocks noEditPoints="1"/>
              </p:cNvSpPr>
              <p:nvPr/>
            </p:nvSpPr>
            <p:spPr bwMode="auto">
              <a:xfrm>
                <a:off x="8029848" y="2989807"/>
                <a:ext cx="654050" cy="1349375"/>
              </a:xfrm>
              <a:custGeom>
                <a:avLst/>
                <a:gdLst>
                  <a:gd name="T0" fmla="*/ 208 w 320"/>
                  <a:gd name="T1" fmla="*/ 598 h 656"/>
                  <a:gd name="T2" fmla="*/ 208 w 320"/>
                  <a:gd name="T3" fmla="*/ 592 h 656"/>
                  <a:gd name="T4" fmla="*/ 48 w 320"/>
                  <a:gd name="T5" fmla="*/ 592 h 656"/>
                  <a:gd name="T6" fmla="*/ 48 w 320"/>
                  <a:gd name="T7" fmla="*/ 560 h 656"/>
                  <a:gd name="T8" fmla="*/ 208 w 320"/>
                  <a:gd name="T9" fmla="*/ 560 h 656"/>
                  <a:gd name="T10" fmla="*/ 208 w 320"/>
                  <a:gd name="T11" fmla="*/ 528 h 656"/>
                  <a:gd name="T12" fmla="*/ 48 w 320"/>
                  <a:gd name="T13" fmla="*/ 528 h 656"/>
                  <a:gd name="T14" fmla="*/ 48 w 320"/>
                  <a:gd name="T15" fmla="*/ 496 h 656"/>
                  <a:gd name="T16" fmla="*/ 208 w 320"/>
                  <a:gd name="T17" fmla="*/ 496 h 656"/>
                  <a:gd name="T18" fmla="*/ 208 w 320"/>
                  <a:gd name="T19" fmla="*/ 307 h 656"/>
                  <a:gd name="T20" fmla="*/ 320 w 320"/>
                  <a:gd name="T21" fmla="*/ 232 h 656"/>
                  <a:gd name="T22" fmla="*/ 320 w 320"/>
                  <a:gd name="T23" fmla="*/ 32 h 656"/>
                  <a:gd name="T24" fmla="*/ 288 w 320"/>
                  <a:gd name="T25" fmla="*/ 0 h 656"/>
                  <a:gd name="T26" fmla="*/ 32 w 320"/>
                  <a:gd name="T27" fmla="*/ 0 h 656"/>
                  <a:gd name="T28" fmla="*/ 0 w 320"/>
                  <a:gd name="T29" fmla="*/ 32 h 656"/>
                  <a:gd name="T30" fmla="*/ 0 w 320"/>
                  <a:gd name="T31" fmla="*/ 656 h 656"/>
                  <a:gd name="T32" fmla="*/ 242 w 320"/>
                  <a:gd name="T33" fmla="*/ 656 h 656"/>
                  <a:gd name="T34" fmla="*/ 208 w 320"/>
                  <a:gd name="T35" fmla="*/ 598 h 656"/>
                  <a:gd name="T36" fmla="*/ 48 w 320"/>
                  <a:gd name="T37" fmla="*/ 96 h 656"/>
                  <a:gd name="T38" fmla="*/ 272 w 320"/>
                  <a:gd name="T39" fmla="*/ 96 h 656"/>
                  <a:gd name="T40" fmla="*/ 272 w 320"/>
                  <a:gd name="T41" fmla="*/ 128 h 656"/>
                  <a:gd name="T42" fmla="*/ 48 w 320"/>
                  <a:gd name="T43" fmla="*/ 128 h 656"/>
                  <a:gd name="T44" fmla="*/ 48 w 320"/>
                  <a:gd name="T45" fmla="*/ 9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0" h="656">
                    <a:moveTo>
                      <a:pt x="208" y="598"/>
                    </a:moveTo>
                    <a:lnTo>
                      <a:pt x="208" y="592"/>
                    </a:lnTo>
                    <a:lnTo>
                      <a:pt x="48" y="592"/>
                    </a:lnTo>
                    <a:lnTo>
                      <a:pt x="48" y="560"/>
                    </a:lnTo>
                    <a:lnTo>
                      <a:pt x="208" y="560"/>
                    </a:lnTo>
                    <a:lnTo>
                      <a:pt x="208" y="528"/>
                    </a:lnTo>
                    <a:lnTo>
                      <a:pt x="48" y="528"/>
                    </a:lnTo>
                    <a:lnTo>
                      <a:pt x="48" y="496"/>
                    </a:lnTo>
                    <a:lnTo>
                      <a:pt x="208" y="496"/>
                    </a:lnTo>
                    <a:lnTo>
                      <a:pt x="208" y="307"/>
                    </a:lnTo>
                    <a:cubicBezTo>
                      <a:pt x="208" y="264"/>
                      <a:pt x="259" y="240"/>
                      <a:pt x="320" y="232"/>
                    </a:cubicBezTo>
                    <a:lnTo>
                      <a:pt x="320" y="32"/>
                    </a:lnTo>
                    <a:cubicBezTo>
                      <a:pt x="320" y="14"/>
                      <a:pt x="305" y="0"/>
                      <a:pt x="288" y="0"/>
                    </a:cubicBezTo>
                    <a:lnTo>
                      <a:pt x="32" y="0"/>
                    </a:lnTo>
                    <a:cubicBezTo>
                      <a:pt x="14" y="0"/>
                      <a:pt x="0" y="14"/>
                      <a:pt x="0" y="32"/>
                    </a:cubicBezTo>
                    <a:lnTo>
                      <a:pt x="0" y="656"/>
                    </a:lnTo>
                    <a:lnTo>
                      <a:pt x="242" y="656"/>
                    </a:lnTo>
                    <a:cubicBezTo>
                      <a:pt x="220" y="641"/>
                      <a:pt x="208" y="621"/>
                      <a:pt x="208" y="598"/>
                    </a:cubicBezTo>
                    <a:close/>
                    <a:moveTo>
                      <a:pt x="48" y="96"/>
                    </a:moveTo>
                    <a:lnTo>
                      <a:pt x="272" y="96"/>
                    </a:lnTo>
                    <a:lnTo>
                      <a:pt x="272" y="128"/>
                    </a:lnTo>
                    <a:lnTo>
                      <a:pt x="48" y="128"/>
                    </a:lnTo>
                    <a:lnTo>
                      <a:pt x="48" y="96"/>
                    </a:lnTo>
                    <a:close/>
                  </a:path>
                </a:pathLst>
              </a:custGeom>
              <a:solidFill>
                <a:schemeClr val="accent5">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0" name="TextBox 99"/>
            <p:cNvSpPr txBox="1"/>
            <p:nvPr/>
          </p:nvSpPr>
          <p:spPr>
            <a:xfrm>
              <a:off x="1948555" y="4474980"/>
              <a:ext cx="5424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P</a:t>
              </a:r>
            </a:p>
          </p:txBody>
        </p:sp>
        <p:cxnSp>
          <p:nvCxnSpPr>
            <p:cNvPr id="101" name="Straight Connector 100"/>
            <p:cNvCxnSpPr/>
            <p:nvPr/>
          </p:nvCxnSpPr>
          <p:spPr>
            <a:xfrm>
              <a:off x="4972028" y="4474978"/>
              <a:ext cx="3933980" cy="0"/>
            </a:xfrm>
            <a:prstGeom prst="line">
              <a:avLst/>
            </a:prstGeom>
            <a:ln w="5715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5751342" y="4166353"/>
              <a:ext cx="1928162"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solidFill>
                    <a:schemeClr val="bg1"/>
                  </a:solidFill>
                </a:rPr>
                <a:t>VPN Tunnel</a:t>
              </a:r>
            </a:p>
          </p:txBody>
        </p:sp>
        <p:sp>
          <p:nvSpPr>
            <p:cNvPr id="103" name="Rectangle 102"/>
            <p:cNvSpPr/>
            <p:nvPr/>
          </p:nvSpPr>
          <p:spPr>
            <a:xfrm>
              <a:off x="1915218" y="5813989"/>
              <a:ext cx="1962426" cy="461665"/>
            </a:xfrm>
            <a:prstGeom prst="rect">
              <a:avLst/>
            </a:prstGeom>
            <a:noFill/>
          </p:spPr>
          <p:txBody>
            <a:bodyPr wrap="square">
              <a:spAutoFit/>
            </a:bodyPr>
            <a:lstStyle/>
            <a:p>
              <a:r>
                <a:rPr lang="en-US" sz="2400" dirty="0" smtClean="0">
                  <a:latin typeface="+mj-lt"/>
                </a:rPr>
                <a:t>On-premises</a:t>
              </a:r>
              <a:endParaRPr lang="en-US" sz="2400" dirty="0">
                <a:latin typeface="+mj-lt"/>
              </a:endParaRPr>
            </a:p>
          </p:txBody>
        </p:sp>
        <p:sp>
          <p:nvSpPr>
            <p:cNvPr id="105" name="Rectangle 104"/>
            <p:cNvSpPr/>
            <p:nvPr/>
          </p:nvSpPr>
          <p:spPr>
            <a:xfrm>
              <a:off x="8898176" y="5790319"/>
              <a:ext cx="2381557" cy="461665"/>
            </a:xfrm>
            <a:prstGeom prst="rect">
              <a:avLst/>
            </a:prstGeom>
            <a:noFill/>
          </p:spPr>
          <p:txBody>
            <a:bodyPr wrap="square">
              <a:spAutoFit/>
            </a:bodyPr>
            <a:lstStyle/>
            <a:p>
              <a:r>
                <a:rPr lang="en-US" sz="2400" dirty="0" smtClean="0">
                  <a:latin typeface="+mj-lt"/>
                </a:rPr>
                <a:t>Microsoft Azure</a:t>
              </a:r>
              <a:endParaRPr lang="en-US" sz="2400" dirty="0">
                <a:latin typeface="+mj-lt"/>
              </a:endParaRPr>
            </a:p>
          </p:txBody>
        </p:sp>
        <p:sp>
          <p:nvSpPr>
            <p:cNvPr id="106" name="TextBox 105"/>
            <p:cNvSpPr txBox="1"/>
            <p:nvPr/>
          </p:nvSpPr>
          <p:spPr>
            <a:xfrm>
              <a:off x="642400" y="4854979"/>
              <a:ext cx="1133965"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D/DNS</a:t>
              </a:r>
            </a:p>
          </p:txBody>
        </p:sp>
        <p:sp>
          <p:nvSpPr>
            <p:cNvPr id="107" name="TextBox 106"/>
            <p:cNvSpPr txBox="1"/>
            <p:nvPr/>
          </p:nvSpPr>
          <p:spPr>
            <a:xfrm>
              <a:off x="9996776" y="4854979"/>
              <a:ext cx="1816459"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t>AGCloudReplica</a:t>
              </a:r>
            </a:p>
          </p:txBody>
        </p:sp>
        <p:sp>
          <p:nvSpPr>
            <p:cNvPr id="108" name="Rectangle 74"/>
            <p:cNvSpPr/>
            <p:nvPr>
              <p:custDataLst>
                <p:tags r:id="rId1"/>
              </p:custDataLst>
            </p:nvPr>
          </p:nvSpPr>
          <p:spPr>
            <a:xfrm>
              <a:off x="8957553" y="3893743"/>
              <a:ext cx="607565" cy="78082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chemeClr val="accent5">
                <a:lumMod val="75000"/>
                <a:lumOff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505" fontAlgn="base">
                <a:spcBef>
                  <a:spcPct val="0"/>
                </a:spcBef>
                <a:spcAft>
                  <a:spcPct val="0"/>
                </a:spcAft>
              </a:pPr>
              <a:endParaRPr lang="en-US" sz="2400" dirty="0">
                <a:solidFill>
                  <a:srgbClr val="FFFFFF"/>
                </a:solidFill>
              </a:endParaRPr>
            </a:p>
          </p:txBody>
        </p:sp>
      </p:grpSp>
    </p:spTree>
    <p:extLst>
      <p:ext uri="{BB962C8B-B14F-4D97-AF65-F5344CB8AC3E}">
        <p14:creationId xmlns:p14="http://schemas.microsoft.com/office/powerpoint/2010/main" val="3792490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STB Product Families 2015">
  <a:themeElements>
    <a:clrScheme name="SQL Server 2014 Decks">
      <a:dk1>
        <a:srgbClr val="494949"/>
      </a:dk1>
      <a:lt1>
        <a:srgbClr val="FFFFFF"/>
      </a:lt1>
      <a:dk2>
        <a:srgbClr val="BA141A"/>
      </a:dk2>
      <a:lt2>
        <a:srgbClr val="D2D2D2"/>
      </a:lt2>
      <a:accent1>
        <a:srgbClr val="0072C6"/>
      </a:accent1>
      <a:accent2>
        <a:srgbClr val="DC3C00"/>
      </a:accent2>
      <a:accent3>
        <a:srgbClr val="008B72"/>
      </a:accent3>
      <a:accent4>
        <a:srgbClr val="68217A"/>
      </a:accent4>
      <a:accent5>
        <a:srgbClr val="002050"/>
      </a:accent5>
      <a:accent6>
        <a:srgbClr val="00188F"/>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12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alking Deck" id="{54E23AB9-3DBE-4A47-A984-5CA2F86BBB31}" vid="{BD38CEB1-68A3-47F2-A62B-A143A6AC58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4EDBEC711BD14FBA6FF5C10FEFEAC7" ma:contentTypeVersion="2" ma:contentTypeDescription="Create a new document." ma:contentTypeScope="" ma:versionID="2439c5e21841780d4f192983b535a097">
  <xsd:schema xmlns:xsd="http://www.w3.org/2001/XMLSchema" xmlns:xs="http://www.w3.org/2001/XMLSchema" xmlns:p="http://schemas.microsoft.com/office/2006/metadata/properties" xmlns:ns2="83cd2334-221a-48c3-9034-bfd1542dfe28" targetNamespace="http://schemas.microsoft.com/office/2006/metadata/properties" ma:root="true" ma:fieldsID="2bca9163d8d0b233c3086236a9289b04" ns2:_="">
    <xsd:import namespace="83cd2334-221a-48c3-9034-bfd1542dfe28"/>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d2334-221a-48c3-9034-bfd1542dfe2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Control xmlns="http://schemas.microsoft.com/VisualStudio/2011/storyboarding/control">
  <Id Name="a53d73d2-368b-429e-b817-1324eec1382c" Revision="1" Stencil="7276b9ef-3953-4dce-a89b-ed85f20b8b93" StencilVersion="1.0"/>
</Control>
</file>

<file path=customXml/item11.xml><?xml version="1.0" encoding="utf-8"?>
<Control xmlns="http://schemas.microsoft.com/VisualStudio/2011/storyboarding/control">
  <Id Name="369f9055-6b6c-48b9-9320-5df2d46c430a" Revision="1" Stencil="7276b9ef-3953-4dce-a89b-ed85f20b8b93" StencilVersion="1.0"/>
</Control>
</file>

<file path=customXml/item12.xml><?xml version="1.0" encoding="utf-8"?>
<Control xmlns="http://schemas.microsoft.com/VisualStudio/2011/storyboarding/control">
  <Id Name="d69996e1-3d61-4686-9b63-f1b855c596ab" Revision="1" Stencil="7276b9ef-3953-4dce-a89b-ed85f20b8b93" StencilVersion="1.0"/>
</Control>
</file>

<file path=customXml/item13.xml><?xml version="1.0" encoding="utf-8"?>
<Control xmlns="http://schemas.microsoft.com/VisualStudio/2011/storyboarding/control">
  <Id Name="a53d73d2-368b-429e-b817-1324eec1382c" Revision="1" Stencil="7276b9ef-3953-4dce-a89b-ed85f20b8b93" StencilVersion="1.0"/>
</Control>
</file>

<file path=customXml/item14.xml><?xml version="1.0" encoding="utf-8"?>
<Control xmlns="http://schemas.microsoft.com/VisualStudio/2011/storyboarding/control">
  <Id Name="a2191c86-fc50-4add-948c-129f6b5a88d8" Revision="1" Stencil="7276b9ef-3953-4dce-a89b-ed85f20b8b93" StencilVersion="1.0"/>
</Control>
</file>

<file path=customXml/item15.xml><?xml version="1.0" encoding="utf-8"?>
<Control xmlns="http://schemas.microsoft.com/VisualStudio/2011/storyboarding/control">
  <Id Name="fb22c541-ded0-47fa-8877-83a4c2d16227" Revision="1" Stencil="7276b9ef-3953-4dce-a89b-ed85f20b8b93" StencilVersion="1.0"/>
</Control>
</file>

<file path=customXml/item16.xml><?xml version="1.0" encoding="utf-8"?>
<Control xmlns="http://schemas.microsoft.com/VisualStudio/2011/storyboarding/control">
  <Id Name="369f9055-6b6c-48b9-9320-5df2d46c430a" Revision="1" Stencil="7276b9ef-3953-4dce-a89b-ed85f20b8b93" StencilVersion="1.0"/>
</Control>
</file>

<file path=customXml/item17.xml><?xml version="1.0" encoding="utf-8"?>
<Control xmlns="http://schemas.microsoft.com/VisualStudio/2011/storyboarding/control">
  <Id Name="a2191c86-fc50-4add-948c-129f6b5a88d8" Revision="1" Stencil="7276b9ef-3953-4dce-a89b-ed85f20b8b93" StencilVersion="1.0"/>
</Control>
</file>

<file path=customXml/item18.xml><?xml version="1.0" encoding="utf-8"?>
<Control xmlns="http://schemas.microsoft.com/VisualStudio/2011/storyboarding/control">
  <Id Name="a2191c86-fc50-4add-948c-129f6b5a88d8" Revision="1" Stencil="7276b9ef-3953-4dce-a89b-ed85f20b8b93" StencilVersion="1.0"/>
</Control>
</file>

<file path=customXml/item19.xml><?xml version="1.0" encoding="utf-8"?>
<Control xmlns="http://schemas.microsoft.com/VisualStudio/2011/storyboarding/control">
  <Id Name="369f9055-6b6c-48b9-9320-5df2d46c430a" Revision="1" Stencil="7276b9ef-3953-4dce-a89b-ed85f20b8b93" StencilVersion="1.0"/>
</Control>
</file>

<file path=customXml/item2.xml><?xml version="1.0" encoding="utf-8"?>
<Control xmlns="http://schemas.microsoft.com/VisualStudio/2011/storyboarding/control">
  <Id Name="d69996e1-3d61-4686-9b63-f1b855c596ab" Revision="1" Stencil="7276b9ef-3953-4dce-a89b-ed85f20b8b93" StencilVersion="1.0"/>
</Control>
</file>

<file path=customXml/item20.xml><?xml version="1.0" encoding="utf-8"?>
<Control xmlns="http://schemas.microsoft.com/VisualStudio/2011/storyboarding/control">
  <Id Name="d69996e1-3d61-4686-9b63-f1b855c596ab" Revision="1" Stencil="7276b9ef-3953-4dce-a89b-ed85f20b8b93" StencilVersion="1.0"/>
</Control>
</file>

<file path=customXml/item21.xml><?xml version="1.0" encoding="utf-8"?>
<Control xmlns="http://schemas.microsoft.com/VisualStudio/2011/storyboarding/control">
  <Id Name="369f9055-6b6c-48b9-9320-5df2d46c430a" Revision="1" Stencil="7276b9ef-3953-4dce-a89b-ed85f20b8b93" StencilVersion="1.0"/>
</Control>
</file>

<file path=customXml/item22.xml><?xml version="1.0" encoding="utf-8"?>
<Control xmlns="http://schemas.microsoft.com/VisualStudio/2011/storyboarding/control">
  <Id Name="d69996e1-3d61-4686-9b63-f1b855c596ab" Revision="1" Stencil="7276b9ef-3953-4dce-a89b-ed85f20b8b93" StencilVersion="1.0"/>
</Control>
</file>

<file path=customXml/item23.xml><?xml version="1.0" encoding="utf-8"?>
<Control xmlns="http://schemas.microsoft.com/VisualStudio/2011/storyboarding/control">
  <Id Name="a2191c86-fc50-4add-948c-129f6b5a88d8" Revision="1" Stencil="7276b9ef-3953-4dce-a89b-ed85f20b8b93" StencilVersion="1.0"/>
</Control>
</file>

<file path=customXml/item24.xml><?xml version="1.0" encoding="utf-8"?>
<Control xmlns="http://schemas.microsoft.com/VisualStudio/2011/storyboarding/control">
  <Id Name="369f9055-6b6c-48b9-9320-5df2d46c430a" Revision="1" Stencil="7276b9ef-3953-4dce-a89b-ed85f20b8b93" StencilVersion="1.0"/>
</Control>
</file>

<file path=customXml/item25.xml><?xml version="1.0" encoding="utf-8"?>
<Control xmlns="http://schemas.microsoft.com/VisualStudio/2011/storyboarding/control">
  <Id Name="d69996e1-3d61-4686-9b63-f1b855c596ab" Revision="1" Stencil="7276b9ef-3953-4dce-a89b-ed85f20b8b93" StencilVersion="1.0"/>
</Control>
</file>

<file path=customXml/item26.xml><?xml version="1.0" encoding="utf-8"?>
<Control xmlns="http://schemas.microsoft.com/VisualStudio/2011/storyboarding/control">
  <Id Name="a53d73d2-368b-429e-b817-1324eec1382c" Revision="1" Stencil="7276b9ef-3953-4dce-a89b-ed85f20b8b93" StencilVersion="1.0"/>
</Control>
</file>

<file path=customXml/item27.xml><?xml version="1.0" encoding="utf-8"?>
<p:properties xmlns:p="http://schemas.microsoft.com/office/2006/metadata/properties" xmlns:xsi="http://www.w3.org/2001/XMLSchema-instance" xmlns:pc="http://schemas.microsoft.com/office/infopath/2007/PartnerControls">
  <documentManagement>
    <SharedWithUsers xmlns="83cd2334-221a-48c3-9034-bfd1542dfe28">
      <UserInfo>
        <DisplayName>Gilad Turbahn</DisplayName>
        <AccountId>511</AccountId>
        <AccountType/>
      </UserInfo>
      <UserInfo>
        <DisplayName>Keith Boyd</DisplayName>
        <AccountId>993</AccountId>
        <AccountType/>
      </UserInfo>
      <UserInfo>
        <DisplayName>Christopher Harrison</DisplayName>
        <AccountId>1176</AccountId>
        <AccountType/>
      </UserInfo>
    </SharedWithUsers>
  </documentManagement>
</p:properties>
</file>

<file path=customXml/item28.xml><?xml version="1.0" encoding="utf-8"?>
<Control xmlns="http://schemas.microsoft.com/VisualStudio/2011/storyboarding/control">
  <Id Name="a2191c86-fc50-4add-948c-129f6b5a88d8" Revision="1" Stencil="7276b9ef-3953-4dce-a89b-ed85f20b8b93" StencilVersion="1.0"/>
</Control>
</file>

<file path=customXml/item29.xml><?xml version="1.0" encoding="utf-8"?>
<Control xmlns="http://schemas.microsoft.com/VisualStudio/2011/storyboarding/control">
  <Id Name="fb22c541-ded0-47fa-8877-83a4c2d16227" Revision="1" Stencil="7276b9ef-3953-4dce-a89b-ed85f20b8b93" StencilVersion="1.0"/>
</Control>
</file>

<file path=customXml/item3.xml><?xml version="1.0" encoding="utf-8"?>
<Control xmlns="http://schemas.microsoft.com/VisualStudio/2011/storyboarding/control">
  <Id Name="fb22c541-ded0-47fa-8877-83a4c2d16227" Revision="1" Stencil="7276b9ef-3953-4dce-a89b-ed85f20b8b93" StencilVersion="1.0"/>
</Control>
</file>

<file path=customXml/item30.xml><?xml version="1.0" encoding="utf-8"?>
<Control xmlns="http://schemas.microsoft.com/VisualStudio/2011/storyboarding/control">
  <Id Name="a53d73d2-368b-429e-b817-1324eec1382c" Revision="1" Stencil="7276b9ef-3953-4dce-a89b-ed85f20b8b93" StencilVersion="1.0"/>
</Control>
</file>

<file path=customXml/item31.xml><?xml version="1.0" encoding="utf-8"?>
<?mso-contentType ?>
<FormTemplates xmlns="http://schemas.microsoft.com/sharepoint/v3/contenttype/forms">
  <Display>DocumentLibraryForm</Display>
  <Edit>DocumentLibraryForm</Edit>
  <New>DocumentLibraryForm</New>
</FormTemplates>
</file>

<file path=customXml/item32.xml><?xml version="1.0" encoding="utf-8"?>
<Control xmlns="http://schemas.microsoft.com/VisualStudio/2011/storyboarding/control">
  <Id Name="a53d73d2-368b-429e-b817-1324eec1382c" Revision="1" Stencil="7276b9ef-3953-4dce-a89b-ed85f20b8b93" StencilVersion="1.0"/>
</Control>
</file>

<file path=customXml/item33.xml><?xml version="1.0" encoding="utf-8"?>
<Control xmlns="http://schemas.microsoft.com/VisualStudio/2011/storyboarding/control">
  <Id Name="369f9055-6b6c-48b9-9320-5df2d46c430a" Revision="1" Stencil="7276b9ef-3953-4dce-a89b-ed85f20b8b93" StencilVersion="1.0"/>
</Control>
</file>

<file path=customXml/item4.xml><?xml version="1.0" encoding="utf-8"?>
<Control xmlns="http://schemas.microsoft.com/VisualStudio/2011/storyboarding/control">
  <Id Name="fb22c541-ded0-47fa-8877-83a4c2d16227" Revision="1" Stencil="7276b9ef-3953-4dce-a89b-ed85f20b8b93" StencilVersion="1.0"/>
</Control>
</file>

<file path=customXml/item5.xml><?xml version="1.0" encoding="utf-8"?>
<Control xmlns="http://schemas.microsoft.com/VisualStudio/2011/storyboarding/control">
  <Id Name="a2191c86-fc50-4add-948c-129f6b5a88d8" Revision="1" Stencil="7276b9ef-3953-4dce-a89b-ed85f20b8b93" StencilVersion="1.0"/>
</Control>
</file>

<file path=customXml/item6.xml><?xml version="1.0" encoding="utf-8"?>
<Control xmlns="http://schemas.microsoft.com/VisualStudio/2011/storyboarding/control">
  <Id Name="fb22c541-ded0-47fa-8877-83a4c2d16227" Revision="1" Stencil="7276b9ef-3953-4dce-a89b-ed85f20b8b93" StencilVersion="1.0"/>
</Control>
</file>

<file path=customXml/item7.xml><?xml version="1.0" encoding="utf-8"?>
<Control xmlns="http://schemas.microsoft.com/VisualStudio/2011/storyboarding/control">
  <Id Name="d69996e1-3d61-4686-9b63-f1b855c596ab" Revision="1" Stencil="7276b9ef-3953-4dce-a89b-ed85f20b8b93" StencilVersion="1.0"/>
</Control>
</file>

<file path=customXml/item8.xml><?xml version="1.0" encoding="utf-8"?>
<Control xmlns="http://schemas.microsoft.com/VisualStudio/2011/storyboarding/control">
  <Id Name="fb22c541-ded0-47fa-8877-83a4c2d16227" Revision="1" Stencil="7276b9ef-3953-4dce-a89b-ed85f20b8b93" StencilVersion="1.0"/>
</Control>
</file>

<file path=customXml/item9.xml><?xml version="1.0" encoding="utf-8"?>
<Control xmlns="http://schemas.microsoft.com/VisualStudio/2011/storyboarding/control">
  <Id Name="a53d73d2-368b-429e-b817-1324eec1382c" Revision="1" Stencil="7276b9ef-3953-4dce-a89b-ed85f20b8b93" StencilVersion="1.0"/>
</Control>
</file>

<file path=customXml/itemProps1.xml><?xml version="1.0" encoding="utf-8"?>
<ds:datastoreItem xmlns:ds="http://schemas.openxmlformats.org/officeDocument/2006/customXml" ds:itemID="{11F98F69-7518-4AE2-AE7B-E037DC9DDC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cd2334-221a-48c3-9034-bfd1542dfe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11.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12.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13.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14.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15.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16.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17.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18.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19.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2.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20.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21.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22.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23.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24.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25.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26.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customXml/itemProps27.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cd2334-221a-48c3-9034-bfd1542dfe28"/>
    <ds:schemaRef ds:uri="http://www.w3.org/XML/1998/namespace"/>
    <ds:schemaRef ds:uri="http://purl.org/dc/dcmitype/"/>
  </ds:schemaRefs>
</ds:datastoreItem>
</file>

<file path=customXml/itemProps28.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29.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3.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30.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3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2.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33.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4.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5.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6.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7.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8.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9.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rand_template_16-9_Consumer_GREEN_1</Template>
  <TotalTime>3797</TotalTime>
  <Words>1760</Words>
  <Application>Microsoft Office PowerPoint</Application>
  <PresentationFormat>Custom</PresentationFormat>
  <Paragraphs>332</Paragraphs>
  <Slides>25</Slides>
  <Notes>18</Notes>
  <HiddenSlides>0</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25</vt:i4>
      </vt:variant>
    </vt:vector>
  </HeadingPairs>
  <TitlesOfParts>
    <vt:vector size="41" baseType="lpstr">
      <vt:lpstr>Arial</vt:lpstr>
      <vt:lpstr>Calibri</vt:lpstr>
      <vt:lpstr>Consolas</vt:lpstr>
      <vt:lpstr>MS PGothic</vt:lpstr>
      <vt:lpstr>MS PGothic</vt:lpstr>
      <vt:lpstr>Segoe Pro</vt:lpstr>
      <vt:lpstr>Segoe Pro Light</vt:lpstr>
      <vt:lpstr>Segoe Semibold</vt:lpstr>
      <vt:lpstr>Segoe UI</vt:lpstr>
      <vt:lpstr>Segoe UI Light</vt:lpstr>
      <vt:lpstr>Segoe UI Semilight</vt:lpstr>
      <vt:lpstr>Times New Roman</vt:lpstr>
      <vt:lpstr>Wingdings</vt:lpstr>
      <vt:lpstr>Wingdings 3</vt:lpstr>
      <vt:lpstr>WHITE TEMPLATE</vt:lpstr>
      <vt:lpstr>STB Product Families 2015</vt:lpstr>
      <vt:lpstr>Design and Implement  Cloud Data Platform Solutions</vt:lpstr>
      <vt:lpstr>PowerPoint Presentation</vt:lpstr>
      <vt:lpstr>Agenda</vt:lpstr>
      <vt:lpstr>In this module</vt:lpstr>
      <vt:lpstr>HA/DR deployment architectures</vt:lpstr>
      <vt:lpstr>AlwaysOn Availability Groups</vt:lpstr>
      <vt:lpstr>Add Azure Replica Wizard</vt:lpstr>
      <vt:lpstr>Before extending AlwaysOn configuration</vt:lpstr>
      <vt:lpstr>AlwaysOn replica in Azure </vt:lpstr>
      <vt:lpstr>Demo</vt:lpstr>
      <vt:lpstr>AlwaysOn Failover Clustering</vt:lpstr>
      <vt:lpstr>Database Mirroring</vt:lpstr>
      <vt:lpstr>Backup to Azure</vt:lpstr>
      <vt:lpstr>Demo</vt:lpstr>
      <vt:lpstr>SQL Server data files in Azure  </vt:lpstr>
      <vt:lpstr>SQL Server 2016: Backup to Azure with file snapshots </vt:lpstr>
      <vt:lpstr>Point-in-time restore with file snapshots  </vt:lpstr>
      <vt:lpstr>SQL Server 2014 Managed Backup to Azure</vt:lpstr>
      <vt:lpstr>Managed Backup to Azure in SQL Server 2016</vt:lpstr>
      <vt:lpstr>Managed Backup to Azure in SQL Server 2014</vt:lpstr>
      <vt:lpstr>High Availability Best Practices</vt:lpstr>
      <vt:lpstr>PowerPoint Presentation</vt:lpstr>
      <vt:lpstr>Connectivity Best Practices</vt:lpstr>
      <vt:lpstr>Hands-on 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dc:title>
  <dc:subject>&lt;Speech title here&gt;</dc:subject>
  <dc:creator>Dandy Weyn</dc:creator>
  <cp:keywords>Design and Implement Cloud Data Platform Solutions</cp:keywords>
  <dc:description>Template: Maryfj_x000d_
Formatting: _x000d_
Audience Type:</dc:description>
  <cp:lastModifiedBy>Dandy Weyn</cp:lastModifiedBy>
  <cp:revision>292</cp:revision>
  <dcterms:created xsi:type="dcterms:W3CDTF">2015-06-04T21:40:17Z</dcterms:created>
  <dcterms:modified xsi:type="dcterms:W3CDTF">2016-02-23T14:5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4EDBEC711BD14FBA6FF5C10FEFEAC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